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.xml" ContentType="application/vnd.openxmlformats-officedocument.presentationml.notesSlide+xml"/>
  <Override PartName="/ppt/tags/tag7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4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3.xml" ContentType="application/vnd.openxmlformats-officedocument.drawingml.chartshape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1" r:id="rId3"/>
  </p:sldMasterIdLst>
  <p:notesMasterIdLst>
    <p:notesMasterId r:id="rId20"/>
  </p:notesMasterIdLst>
  <p:sldIdLst>
    <p:sldId id="258" r:id="rId4"/>
    <p:sldId id="280" r:id="rId5"/>
    <p:sldId id="287" r:id="rId6"/>
    <p:sldId id="419" r:id="rId7"/>
    <p:sldId id="319" r:id="rId8"/>
    <p:sldId id="421" r:id="rId9"/>
    <p:sldId id="317" r:id="rId10"/>
    <p:sldId id="422" r:id="rId11"/>
    <p:sldId id="423" r:id="rId12"/>
    <p:sldId id="335" r:id="rId13"/>
    <p:sldId id="427" r:id="rId14"/>
    <p:sldId id="420" r:id="rId15"/>
    <p:sldId id="416" r:id="rId16"/>
    <p:sldId id="424" r:id="rId17"/>
    <p:sldId id="426" r:id="rId18"/>
    <p:sldId id="278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30094E-9223-4333-9555-47538848094B}" v="590" dt="2022-10-10T13:11:48.3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5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26" y="2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28" Type="http://schemas.openxmlformats.org/officeDocument/2006/relationships/customXml" Target="../customXml/item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Relationship Id="rId27" Type="http://schemas.microsoft.com/office/2015/10/relationships/revisionInfo" Target="revisionInfo.xml"/><Relationship Id="rId30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rianna Sonnek" userId="0407e21e-9483-42e7-97e4-c053a066fb80" providerId="ADAL" clId="{1A30094E-9223-4333-9555-47538848094B}"/>
    <pc:docChg chg="undo custSel addSld delSld modSld sldOrd delMainMaster">
      <pc:chgData name="Adrianna Sonnek" userId="0407e21e-9483-42e7-97e4-c053a066fb80" providerId="ADAL" clId="{1A30094E-9223-4333-9555-47538848094B}" dt="2022-10-10T13:11:48.355" v="3008"/>
      <pc:docMkLst>
        <pc:docMk/>
      </pc:docMkLst>
      <pc:sldChg chg="modSp del mod">
        <pc:chgData name="Adrianna Sonnek" userId="0407e21e-9483-42e7-97e4-c053a066fb80" providerId="ADAL" clId="{1A30094E-9223-4333-9555-47538848094B}" dt="2022-10-07T19:43:36.715" v="187" actId="20577"/>
        <pc:sldMkLst>
          <pc:docMk/>
          <pc:sldMk cId="1841668401" sldId="258"/>
        </pc:sldMkLst>
        <pc:spChg chg="mod">
          <ac:chgData name="Adrianna Sonnek" userId="0407e21e-9483-42e7-97e4-c053a066fb80" providerId="ADAL" clId="{1A30094E-9223-4333-9555-47538848094B}" dt="2022-10-07T19:42:28.449" v="170" actId="403"/>
          <ac:spMkLst>
            <pc:docMk/>
            <pc:sldMk cId="1841668401" sldId="258"/>
            <ac:spMk id="2" creationId="{00000000-0000-0000-0000-000000000000}"/>
          </ac:spMkLst>
        </pc:spChg>
        <pc:spChg chg="mod">
          <ac:chgData name="Adrianna Sonnek" userId="0407e21e-9483-42e7-97e4-c053a066fb80" providerId="ADAL" clId="{1A30094E-9223-4333-9555-47538848094B}" dt="2022-10-07T19:41:59.267" v="168" actId="20577"/>
          <ac:spMkLst>
            <pc:docMk/>
            <pc:sldMk cId="1841668401" sldId="258"/>
            <ac:spMk id="3" creationId="{13E91F57-B61A-4A56-862E-C04D95FD1ABA}"/>
          </ac:spMkLst>
        </pc:spChg>
        <pc:spChg chg="mod">
          <ac:chgData name="Adrianna Sonnek" userId="0407e21e-9483-42e7-97e4-c053a066fb80" providerId="ADAL" clId="{1A30094E-9223-4333-9555-47538848094B}" dt="2022-10-07T19:43:36.715" v="187" actId="20577"/>
          <ac:spMkLst>
            <pc:docMk/>
            <pc:sldMk cId="1841668401" sldId="258"/>
            <ac:spMk id="8" creationId="{7703D06A-8890-4727-8270-B7C0B98FFE8A}"/>
          </ac:spMkLst>
        </pc:spChg>
      </pc:sldChg>
      <pc:sldChg chg="delSp modSp mod">
        <pc:chgData name="Adrianna Sonnek" userId="0407e21e-9483-42e7-97e4-c053a066fb80" providerId="ADAL" clId="{1A30094E-9223-4333-9555-47538848094B}" dt="2022-10-10T12:49:09.105" v="2653" actId="20577"/>
        <pc:sldMkLst>
          <pc:docMk/>
          <pc:sldMk cId="1775963357" sldId="280"/>
        </pc:sldMkLst>
        <pc:spChg chg="mod">
          <ac:chgData name="Adrianna Sonnek" userId="0407e21e-9483-42e7-97e4-c053a066fb80" providerId="ADAL" clId="{1A30094E-9223-4333-9555-47538848094B}" dt="2022-10-10T12:49:09.105" v="2653" actId="20577"/>
          <ac:spMkLst>
            <pc:docMk/>
            <pc:sldMk cId="1775963357" sldId="280"/>
            <ac:spMk id="5" creationId="{11E82047-7CA0-4DF7-85D7-8573E7BA2EB4}"/>
          </ac:spMkLst>
        </pc:spChg>
        <pc:picChg chg="del">
          <ac:chgData name="Adrianna Sonnek" userId="0407e21e-9483-42e7-97e4-c053a066fb80" providerId="ADAL" clId="{1A30094E-9223-4333-9555-47538848094B}" dt="2022-10-07T19:39:57.649" v="3"/>
          <ac:picMkLst>
            <pc:docMk/>
            <pc:sldMk cId="1775963357" sldId="280"/>
            <ac:picMk id="2" creationId="{4B508EAD-56EE-40A1-A40F-788F0E3DD723}"/>
          </ac:picMkLst>
        </pc:picChg>
        <pc:picChg chg="del">
          <ac:chgData name="Adrianna Sonnek" userId="0407e21e-9483-42e7-97e4-c053a066fb80" providerId="ADAL" clId="{1A30094E-9223-4333-9555-47538848094B}" dt="2022-10-07T19:44:20.164" v="191"/>
          <ac:picMkLst>
            <pc:docMk/>
            <pc:sldMk cId="1775963357" sldId="280"/>
            <ac:picMk id="3" creationId="{F2F2ADFB-5942-4678-B4CD-7253E39038B0}"/>
          </ac:picMkLst>
        </pc:picChg>
      </pc:sldChg>
      <pc:sldChg chg="modSp del mod modNotesTx">
        <pc:chgData name="Adrianna Sonnek" userId="0407e21e-9483-42e7-97e4-c053a066fb80" providerId="ADAL" clId="{1A30094E-9223-4333-9555-47538848094B}" dt="2022-10-07T20:55:29.580" v="545" actId="20577"/>
        <pc:sldMkLst>
          <pc:docMk/>
          <pc:sldMk cId="1497524930" sldId="287"/>
        </pc:sldMkLst>
        <pc:spChg chg="mod">
          <ac:chgData name="Adrianna Sonnek" userId="0407e21e-9483-42e7-97e4-c053a066fb80" providerId="ADAL" clId="{1A30094E-9223-4333-9555-47538848094B}" dt="2022-10-07T20:55:29.580" v="545" actId="20577"/>
          <ac:spMkLst>
            <pc:docMk/>
            <pc:sldMk cId="1497524930" sldId="287"/>
            <ac:spMk id="3" creationId="{40EDF458-3C2E-4381-A5B5-DA23F734DBBF}"/>
          </ac:spMkLst>
        </pc:spChg>
      </pc:sldChg>
      <pc:sldChg chg="modSp mod">
        <pc:chgData name="Adrianna Sonnek" userId="0407e21e-9483-42e7-97e4-c053a066fb80" providerId="ADAL" clId="{1A30094E-9223-4333-9555-47538848094B}" dt="2022-10-07T22:54:38.085" v="2493" actId="20577"/>
        <pc:sldMkLst>
          <pc:docMk/>
          <pc:sldMk cId="3870615754" sldId="317"/>
        </pc:sldMkLst>
        <pc:spChg chg="mod">
          <ac:chgData name="Adrianna Sonnek" userId="0407e21e-9483-42e7-97e4-c053a066fb80" providerId="ADAL" clId="{1A30094E-9223-4333-9555-47538848094B}" dt="2022-10-07T22:54:38.085" v="2493" actId="20577"/>
          <ac:spMkLst>
            <pc:docMk/>
            <pc:sldMk cId="3870615754" sldId="317"/>
            <ac:spMk id="2" creationId="{8F40AD4F-9F53-4D8F-A6A6-7D70130B5ACC}"/>
          </ac:spMkLst>
        </pc:spChg>
      </pc:sldChg>
      <pc:sldChg chg="delSp mod">
        <pc:chgData name="Adrianna Sonnek" userId="0407e21e-9483-42e7-97e4-c053a066fb80" providerId="ADAL" clId="{1A30094E-9223-4333-9555-47538848094B}" dt="2022-10-07T20:52:12.866" v="511" actId="478"/>
        <pc:sldMkLst>
          <pc:docMk/>
          <pc:sldMk cId="1834693209" sldId="319"/>
        </pc:sldMkLst>
        <pc:spChg chg="del">
          <ac:chgData name="Adrianna Sonnek" userId="0407e21e-9483-42e7-97e4-c053a066fb80" providerId="ADAL" clId="{1A30094E-9223-4333-9555-47538848094B}" dt="2022-10-07T20:52:12.866" v="511" actId="478"/>
          <ac:spMkLst>
            <pc:docMk/>
            <pc:sldMk cId="1834693209" sldId="319"/>
            <ac:spMk id="6" creationId="{832E6C5A-9E58-4CBF-892B-567B0E5B60F4}"/>
          </ac:spMkLst>
        </pc:spChg>
      </pc:sldChg>
      <pc:sldChg chg="addSp delSp modSp mod modNotesTx">
        <pc:chgData name="Adrianna Sonnek" userId="0407e21e-9483-42e7-97e4-c053a066fb80" providerId="ADAL" clId="{1A30094E-9223-4333-9555-47538848094B}" dt="2022-10-07T20:46:07.219" v="496" actId="20577"/>
        <pc:sldMkLst>
          <pc:docMk/>
          <pc:sldMk cId="3068989248" sldId="335"/>
        </pc:sldMkLst>
        <pc:spChg chg="del">
          <ac:chgData name="Adrianna Sonnek" userId="0407e21e-9483-42e7-97e4-c053a066fb80" providerId="ADAL" clId="{1A30094E-9223-4333-9555-47538848094B}" dt="2022-10-07T20:02:20.813" v="196" actId="478"/>
          <ac:spMkLst>
            <pc:docMk/>
            <pc:sldMk cId="3068989248" sldId="335"/>
            <ac:spMk id="2" creationId="{5FE38DC5-B5EE-7548-990C-5872699219A7}"/>
          </ac:spMkLst>
        </pc:spChg>
        <pc:spChg chg="add del mod">
          <ac:chgData name="Adrianna Sonnek" userId="0407e21e-9483-42e7-97e4-c053a066fb80" providerId="ADAL" clId="{1A30094E-9223-4333-9555-47538848094B}" dt="2022-10-07T20:02:25.265" v="198" actId="478"/>
          <ac:spMkLst>
            <pc:docMk/>
            <pc:sldMk cId="3068989248" sldId="335"/>
            <ac:spMk id="4" creationId="{E9984D41-0C5D-42A9-9004-15AEFD926FE6}"/>
          </ac:spMkLst>
        </pc:spChg>
        <pc:spChg chg="mod">
          <ac:chgData name="Adrianna Sonnek" userId="0407e21e-9483-42e7-97e4-c053a066fb80" providerId="ADAL" clId="{1A30094E-9223-4333-9555-47538848094B}" dt="2022-10-07T20:02:44.113" v="200" actId="14100"/>
          <ac:spMkLst>
            <pc:docMk/>
            <pc:sldMk cId="3068989248" sldId="335"/>
            <ac:spMk id="6" creationId="{8A1C1BF0-DEC8-443A-862B-CAAEB758C746}"/>
          </ac:spMkLst>
        </pc:spChg>
        <pc:spChg chg="del">
          <ac:chgData name="Adrianna Sonnek" userId="0407e21e-9483-42e7-97e4-c053a066fb80" providerId="ADAL" clId="{1A30094E-9223-4333-9555-47538848094B}" dt="2022-10-07T20:00:19.021" v="195" actId="478"/>
          <ac:spMkLst>
            <pc:docMk/>
            <pc:sldMk cId="3068989248" sldId="335"/>
            <ac:spMk id="12" creationId="{1C732F0F-49C0-495B-9EEE-5CFB6A7D2B56}"/>
          </ac:spMkLst>
        </pc:spChg>
        <pc:graphicFrameChg chg="mod">
          <ac:chgData name="Adrianna Sonnek" userId="0407e21e-9483-42e7-97e4-c053a066fb80" providerId="ADAL" clId="{1A30094E-9223-4333-9555-47538848094B}" dt="2022-10-07T20:03:52.718" v="216"/>
          <ac:graphicFrameMkLst>
            <pc:docMk/>
            <pc:sldMk cId="3068989248" sldId="335"/>
            <ac:graphicFrameMk id="9" creationId="{0F7330C4-91B6-4A9D-87BE-21185B78EBB1}"/>
          </ac:graphicFrameMkLst>
        </pc:graphicFrameChg>
        <pc:graphicFrameChg chg="del">
          <ac:chgData name="Adrianna Sonnek" userId="0407e21e-9483-42e7-97e4-c053a066fb80" providerId="ADAL" clId="{1A30094E-9223-4333-9555-47538848094B}" dt="2022-10-07T20:02:22.240" v="197" actId="478"/>
          <ac:graphicFrameMkLst>
            <pc:docMk/>
            <pc:sldMk cId="3068989248" sldId="335"/>
            <ac:graphicFrameMk id="11" creationId="{671C1DFB-36F3-4FF2-B6F4-383FED474CED}"/>
          </ac:graphicFrameMkLst>
        </pc:graphicFrameChg>
      </pc:sldChg>
      <pc:sldChg chg="del mod">
        <pc:chgData name="Adrianna Sonnek" userId="0407e21e-9483-42e7-97e4-c053a066fb80" providerId="ADAL" clId="{1A30094E-9223-4333-9555-47538848094B}" dt="2022-10-10T13:06:54.076" v="2960" actId="2696"/>
        <pc:sldMkLst>
          <pc:docMk/>
          <pc:sldMk cId="835095592" sldId="339"/>
        </pc:sldMkLst>
      </pc:sldChg>
      <pc:sldChg chg="delSp modSp del mod">
        <pc:chgData name="Adrianna Sonnek" userId="0407e21e-9483-42e7-97e4-c053a066fb80" providerId="ADAL" clId="{1A30094E-9223-4333-9555-47538848094B}" dt="2022-10-10T13:02:13.971" v="2838" actId="2696"/>
        <pc:sldMkLst>
          <pc:docMk/>
          <pc:sldMk cId="1597898720" sldId="340"/>
        </pc:sldMkLst>
        <pc:spChg chg="del mod">
          <ac:chgData name="Adrianna Sonnek" userId="0407e21e-9483-42e7-97e4-c053a066fb80" providerId="ADAL" clId="{1A30094E-9223-4333-9555-47538848094B}" dt="2022-10-07T20:20:58.968" v="220" actId="478"/>
          <ac:spMkLst>
            <pc:docMk/>
            <pc:sldMk cId="1597898720" sldId="340"/>
            <ac:spMk id="5" creationId="{59136CF8-2B71-477C-9282-ECC97AD9AF97}"/>
          </ac:spMkLst>
        </pc:spChg>
        <pc:spChg chg="del">
          <ac:chgData name="Adrianna Sonnek" userId="0407e21e-9483-42e7-97e4-c053a066fb80" providerId="ADAL" clId="{1A30094E-9223-4333-9555-47538848094B}" dt="2022-10-07T20:20:57.704" v="219" actId="478"/>
          <ac:spMkLst>
            <pc:docMk/>
            <pc:sldMk cId="1597898720" sldId="340"/>
            <ac:spMk id="9" creationId="{6654BA3C-9042-4672-975B-9960EFDBEFED}"/>
          </ac:spMkLst>
        </pc:spChg>
        <pc:spChg chg="del">
          <ac:chgData name="Adrianna Sonnek" userId="0407e21e-9483-42e7-97e4-c053a066fb80" providerId="ADAL" clId="{1A30094E-9223-4333-9555-47538848094B}" dt="2022-10-07T20:00:16.379" v="194" actId="478"/>
          <ac:spMkLst>
            <pc:docMk/>
            <pc:sldMk cId="1597898720" sldId="340"/>
            <ac:spMk id="10" creationId="{39E93A38-3973-474D-988C-1F82B12CACFC}"/>
          </ac:spMkLst>
        </pc:spChg>
        <pc:graphicFrameChg chg="mod">
          <ac:chgData name="Adrianna Sonnek" userId="0407e21e-9483-42e7-97e4-c053a066fb80" providerId="ADAL" clId="{1A30094E-9223-4333-9555-47538848094B}" dt="2022-10-07T20:24:31.742" v="224" actId="404"/>
          <ac:graphicFrameMkLst>
            <pc:docMk/>
            <pc:sldMk cId="1597898720" sldId="340"/>
            <ac:graphicFrameMk id="11" creationId="{671C1DFB-36F3-4FF2-B6F4-383FED474CED}"/>
          </ac:graphicFrameMkLst>
        </pc:graphicFrameChg>
        <pc:picChg chg="del">
          <ac:chgData name="Adrianna Sonnek" userId="0407e21e-9483-42e7-97e4-c053a066fb80" providerId="ADAL" clId="{1A30094E-9223-4333-9555-47538848094B}" dt="2022-10-07T20:20:55.051" v="217" actId="478"/>
          <ac:picMkLst>
            <pc:docMk/>
            <pc:sldMk cId="1597898720" sldId="340"/>
            <ac:picMk id="4" creationId="{956BF4B1-AB67-4411-B378-79BB6822B1DC}"/>
          </ac:picMkLst>
        </pc:picChg>
      </pc:sldChg>
      <pc:sldChg chg="delSp modSp mod">
        <pc:chgData name="Adrianna Sonnek" userId="0407e21e-9483-42e7-97e4-c053a066fb80" providerId="ADAL" clId="{1A30094E-9223-4333-9555-47538848094B}" dt="2022-10-07T22:55:14.720" v="2498" actId="20577"/>
        <pc:sldMkLst>
          <pc:docMk/>
          <pc:sldMk cId="2147991246" sldId="416"/>
        </pc:sldMkLst>
        <pc:spChg chg="mod">
          <ac:chgData name="Adrianna Sonnek" userId="0407e21e-9483-42e7-97e4-c053a066fb80" providerId="ADAL" clId="{1A30094E-9223-4333-9555-47538848094B}" dt="2022-10-07T22:55:14.720" v="2498" actId="20577"/>
          <ac:spMkLst>
            <pc:docMk/>
            <pc:sldMk cId="2147991246" sldId="416"/>
            <ac:spMk id="2" creationId="{5FE38DC5-B5EE-7548-990C-5872699219A7}"/>
          </ac:spMkLst>
        </pc:spChg>
        <pc:spChg chg="del">
          <ac:chgData name="Adrianna Sonnek" userId="0407e21e-9483-42e7-97e4-c053a066fb80" providerId="ADAL" clId="{1A30094E-9223-4333-9555-47538848094B}" dt="2022-10-07T20:00:04.780" v="193" actId="478"/>
          <ac:spMkLst>
            <pc:docMk/>
            <pc:sldMk cId="2147991246" sldId="416"/>
            <ac:spMk id="19" creationId="{0E01A5E0-5FB7-4920-860F-557F8ECE01FC}"/>
          </ac:spMkLst>
        </pc:spChg>
      </pc:sldChg>
      <pc:sldChg chg="delSp modSp del mod">
        <pc:chgData name="Adrianna Sonnek" userId="0407e21e-9483-42e7-97e4-c053a066fb80" providerId="ADAL" clId="{1A30094E-9223-4333-9555-47538848094B}" dt="2022-10-07T19:46:41.324" v="192" actId="478"/>
        <pc:sldMkLst>
          <pc:docMk/>
          <pc:sldMk cId="3703656955" sldId="419"/>
        </pc:sldMkLst>
        <pc:spChg chg="mod">
          <ac:chgData name="Adrianna Sonnek" userId="0407e21e-9483-42e7-97e4-c053a066fb80" providerId="ADAL" clId="{1A30094E-9223-4333-9555-47538848094B}" dt="2022-10-07T19:44:16.599" v="190"/>
          <ac:spMkLst>
            <pc:docMk/>
            <pc:sldMk cId="3703656955" sldId="419"/>
            <ac:spMk id="6" creationId="{A1A42BEB-8A33-9B47-9357-5E125376C6CA}"/>
          </ac:spMkLst>
        </pc:spChg>
        <pc:spChg chg="del">
          <ac:chgData name="Adrianna Sonnek" userId="0407e21e-9483-42e7-97e4-c053a066fb80" providerId="ADAL" clId="{1A30094E-9223-4333-9555-47538848094B}" dt="2022-10-07T19:46:41.324" v="192" actId="478"/>
          <ac:spMkLst>
            <pc:docMk/>
            <pc:sldMk cId="3703656955" sldId="419"/>
            <ac:spMk id="9" creationId="{FDB1F693-463A-4AE0-A738-9C55230752B2}"/>
          </ac:spMkLst>
        </pc:spChg>
      </pc:sldChg>
      <pc:sldChg chg="addSp modSp add mod">
        <pc:chgData name="Adrianna Sonnek" userId="0407e21e-9483-42e7-97e4-c053a066fb80" providerId="ADAL" clId="{1A30094E-9223-4333-9555-47538848094B}" dt="2022-10-10T13:11:48.355" v="3008"/>
        <pc:sldMkLst>
          <pc:docMk/>
          <pc:sldMk cId="3623228809" sldId="420"/>
        </pc:sldMkLst>
        <pc:spChg chg="add mod">
          <ac:chgData name="Adrianna Sonnek" userId="0407e21e-9483-42e7-97e4-c053a066fb80" providerId="ADAL" clId="{1A30094E-9223-4333-9555-47538848094B}" dt="2022-10-10T13:04:23.833" v="2941" actId="14100"/>
          <ac:spMkLst>
            <pc:docMk/>
            <pc:sldMk cId="3623228809" sldId="420"/>
            <ac:spMk id="2" creationId="{407C9C8F-2021-4B5B-A777-1E1BEC560140}"/>
          </ac:spMkLst>
        </pc:spChg>
        <pc:spChg chg="mod">
          <ac:chgData name="Adrianna Sonnek" userId="0407e21e-9483-42e7-97e4-c053a066fb80" providerId="ADAL" clId="{1A30094E-9223-4333-9555-47538848094B}" dt="2022-10-10T13:06:40.398" v="2959" actId="20577"/>
          <ac:spMkLst>
            <pc:docMk/>
            <pc:sldMk cId="3623228809" sldId="420"/>
            <ac:spMk id="10" creationId="{1D163346-BDC8-47BF-8A96-85A53B7A1C25}"/>
          </ac:spMkLst>
        </pc:spChg>
        <pc:graphicFrameChg chg="mod">
          <ac:chgData name="Adrianna Sonnek" userId="0407e21e-9483-42e7-97e4-c053a066fb80" providerId="ADAL" clId="{1A30094E-9223-4333-9555-47538848094B}" dt="2022-10-10T13:11:48.355" v="3008"/>
          <ac:graphicFrameMkLst>
            <pc:docMk/>
            <pc:sldMk cId="3623228809" sldId="420"/>
            <ac:graphicFrameMk id="9" creationId="{D809E61B-7E4B-4428-BF79-A39F5AFF90BE}"/>
          </ac:graphicFrameMkLst>
        </pc:graphicFrameChg>
      </pc:sldChg>
      <pc:sldChg chg="addSp modSp add mod modNotesTx">
        <pc:chgData name="Adrianna Sonnek" userId="0407e21e-9483-42e7-97e4-c053a066fb80" providerId="ADAL" clId="{1A30094E-9223-4333-9555-47538848094B}" dt="2022-10-07T21:47:36.651" v="1267" actId="14100"/>
        <pc:sldMkLst>
          <pc:docMk/>
          <pc:sldMk cId="1648584313" sldId="421"/>
        </pc:sldMkLst>
        <pc:spChg chg="mod">
          <ac:chgData name="Adrianna Sonnek" userId="0407e21e-9483-42e7-97e4-c053a066fb80" providerId="ADAL" clId="{1A30094E-9223-4333-9555-47538848094B}" dt="2022-10-07T21:47:36.651" v="1267" actId="14100"/>
          <ac:spMkLst>
            <pc:docMk/>
            <pc:sldMk cId="1648584313" sldId="421"/>
            <ac:spMk id="2" creationId="{5FE38DC5-B5EE-7548-990C-5872699219A7}"/>
          </ac:spMkLst>
        </pc:spChg>
        <pc:spChg chg="add mod">
          <ac:chgData name="Adrianna Sonnek" userId="0407e21e-9483-42e7-97e4-c053a066fb80" providerId="ADAL" clId="{1A30094E-9223-4333-9555-47538848094B}" dt="2022-10-07T21:35:58.818" v="782" actId="14100"/>
          <ac:spMkLst>
            <pc:docMk/>
            <pc:sldMk cId="1648584313" sldId="421"/>
            <ac:spMk id="9" creationId="{197186E9-06D8-42EB-9AAB-F256B1417A68}"/>
          </ac:spMkLst>
        </pc:spChg>
        <pc:graphicFrameChg chg="add mod">
          <ac:chgData name="Adrianna Sonnek" userId="0407e21e-9483-42e7-97e4-c053a066fb80" providerId="ADAL" clId="{1A30094E-9223-4333-9555-47538848094B}" dt="2022-10-07T21:41:38.273" v="949"/>
          <ac:graphicFrameMkLst>
            <pc:docMk/>
            <pc:sldMk cId="1648584313" sldId="421"/>
            <ac:graphicFrameMk id="6" creationId="{59D53651-B2F5-49B4-A393-FAFA9A783152}"/>
          </ac:graphicFrameMkLst>
        </pc:graphicFrameChg>
        <pc:graphicFrameChg chg="mod">
          <ac:chgData name="Adrianna Sonnek" userId="0407e21e-9483-42e7-97e4-c053a066fb80" providerId="ADAL" clId="{1A30094E-9223-4333-9555-47538848094B}" dt="2022-10-07T21:34:08.332" v="748" actId="1076"/>
          <ac:graphicFrameMkLst>
            <pc:docMk/>
            <pc:sldMk cId="1648584313" sldId="421"/>
            <ac:graphicFrameMk id="11" creationId="{671C1DFB-36F3-4FF2-B6F4-383FED474CED}"/>
          </ac:graphicFrameMkLst>
        </pc:graphicFrameChg>
      </pc:sldChg>
      <pc:sldChg chg="addSp delSp modSp add mod ord modNotesTx">
        <pc:chgData name="Adrianna Sonnek" userId="0407e21e-9483-42e7-97e4-c053a066fb80" providerId="ADAL" clId="{1A30094E-9223-4333-9555-47538848094B}" dt="2022-10-07T22:58:21.846" v="2642" actId="20577"/>
        <pc:sldMkLst>
          <pc:docMk/>
          <pc:sldMk cId="1587119868" sldId="422"/>
        </pc:sldMkLst>
        <pc:spChg chg="mod">
          <ac:chgData name="Adrianna Sonnek" userId="0407e21e-9483-42e7-97e4-c053a066fb80" providerId="ADAL" clId="{1A30094E-9223-4333-9555-47538848094B}" dt="2022-10-07T21:38:47.189" v="877" actId="20577"/>
          <ac:spMkLst>
            <pc:docMk/>
            <pc:sldMk cId="1587119868" sldId="422"/>
            <ac:spMk id="2" creationId="{5FE38DC5-B5EE-7548-990C-5872699219A7}"/>
          </ac:spMkLst>
        </pc:spChg>
        <pc:spChg chg="add mod">
          <ac:chgData name="Adrianna Sonnek" userId="0407e21e-9483-42e7-97e4-c053a066fb80" providerId="ADAL" clId="{1A30094E-9223-4333-9555-47538848094B}" dt="2022-10-07T21:41:54.156" v="961" actId="207"/>
          <ac:spMkLst>
            <pc:docMk/>
            <pc:sldMk cId="1587119868" sldId="422"/>
            <ac:spMk id="3" creationId="{DECDFC0D-4847-4601-B442-8B16960021A9}"/>
          </ac:spMkLst>
        </pc:spChg>
        <pc:graphicFrameChg chg="add mod">
          <ac:chgData name="Adrianna Sonnek" userId="0407e21e-9483-42e7-97e4-c053a066fb80" providerId="ADAL" clId="{1A30094E-9223-4333-9555-47538848094B}" dt="2022-10-07T21:41:47.898" v="950"/>
          <ac:graphicFrameMkLst>
            <pc:docMk/>
            <pc:sldMk cId="1587119868" sldId="422"/>
            <ac:graphicFrameMk id="6" creationId="{0351F493-AB24-4BE1-B0BB-1C64735691B0}"/>
          </ac:graphicFrameMkLst>
        </pc:graphicFrameChg>
        <pc:graphicFrameChg chg="del">
          <ac:chgData name="Adrianna Sonnek" userId="0407e21e-9483-42e7-97e4-c053a066fb80" providerId="ADAL" clId="{1A30094E-9223-4333-9555-47538848094B}" dt="2022-10-07T21:39:14.742" v="878" actId="478"/>
          <ac:graphicFrameMkLst>
            <pc:docMk/>
            <pc:sldMk cId="1587119868" sldId="422"/>
            <ac:graphicFrameMk id="11" creationId="{671C1DFB-36F3-4FF2-B6F4-383FED474CED}"/>
          </ac:graphicFrameMkLst>
        </pc:graphicFrameChg>
      </pc:sldChg>
      <pc:sldChg chg="modSp add del mod">
        <pc:chgData name="Adrianna Sonnek" userId="0407e21e-9483-42e7-97e4-c053a066fb80" providerId="ADAL" clId="{1A30094E-9223-4333-9555-47538848094B}" dt="2022-10-07T21:36:11.956" v="783" actId="47"/>
        <pc:sldMkLst>
          <pc:docMk/>
          <pc:sldMk cId="2688054442" sldId="422"/>
        </pc:sldMkLst>
        <pc:spChg chg="mod">
          <ac:chgData name="Adrianna Sonnek" userId="0407e21e-9483-42e7-97e4-c053a066fb80" providerId="ADAL" clId="{1A30094E-9223-4333-9555-47538848094B}" dt="2022-10-07T21:27:13.616" v="738" actId="20577"/>
          <ac:spMkLst>
            <pc:docMk/>
            <pc:sldMk cId="2688054442" sldId="422"/>
            <ac:spMk id="2" creationId="{5FE38DC5-B5EE-7548-990C-5872699219A7}"/>
          </ac:spMkLst>
        </pc:spChg>
      </pc:sldChg>
      <pc:sldChg chg="modSp add mod modNotesTx">
        <pc:chgData name="Adrianna Sonnek" userId="0407e21e-9483-42e7-97e4-c053a066fb80" providerId="ADAL" clId="{1A30094E-9223-4333-9555-47538848094B}" dt="2022-10-07T22:10:56.933" v="1425" actId="20577"/>
        <pc:sldMkLst>
          <pc:docMk/>
          <pc:sldMk cId="3377233194" sldId="423"/>
        </pc:sldMkLst>
        <pc:spChg chg="mod">
          <ac:chgData name="Adrianna Sonnek" userId="0407e21e-9483-42e7-97e4-c053a066fb80" providerId="ADAL" clId="{1A30094E-9223-4333-9555-47538848094B}" dt="2022-10-07T22:10:01.340" v="1414" actId="20577"/>
          <ac:spMkLst>
            <pc:docMk/>
            <pc:sldMk cId="3377233194" sldId="423"/>
            <ac:spMk id="2" creationId="{5FE38DC5-B5EE-7548-990C-5872699219A7}"/>
          </ac:spMkLst>
        </pc:spChg>
        <pc:spChg chg="mod">
          <ac:chgData name="Adrianna Sonnek" userId="0407e21e-9483-42e7-97e4-c053a066fb80" providerId="ADAL" clId="{1A30094E-9223-4333-9555-47538848094B}" dt="2022-10-07T22:10:53.032" v="1424" actId="14100"/>
          <ac:spMkLst>
            <pc:docMk/>
            <pc:sldMk cId="3377233194" sldId="423"/>
            <ac:spMk id="3" creationId="{DECDFC0D-4847-4601-B442-8B16960021A9}"/>
          </ac:spMkLst>
        </pc:spChg>
      </pc:sldChg>
      <pc:sldChg chg="addSp delSp modSp add mod modNotesTx">
        <pc:chgData name="Adrianna Sonnek" userId="0407e21e-9483-42e7-97e4-c053a066fb80" providerId="ADAL" clId="{1A30094E-9223-4333-9555-47538848094B}" dt="2022-10-07T22:34:51.205" v="2165" actId="113"/>
        <pc:sldMkLst>
          <pc:docMk/>
          <pc:sldMk cId="2356554954" sldId="424"/>
        </pc:sldMkLst>
        <pc:spChg chg="add del mod">
          <ac:chgData name="Adrianna Sonnek" userId="0407e21e-9483-42e7-97e4-c053a066fb80" providerId="ADAL" clId="{1A30094E-9223-4333-9555-47538848094B}" dt="2022-10-07T22:34:51.205" v="2165" actId="113"/>
          <ac:spMkLst>
            <pc:docMk/>
            <pc:sldMk cId="2356554954" sldId="424"/>
            <ac:spMk id="2" creationId="{5FE38DC5-B5EE-7548-990C-5872699219A7}"/>
          </ac:spMkLst>
        </pc:spChg>
        <pc:spChg chg="add del mod">
          <ac:chgData name="Adrianna Sonnek" userId="0407e21e-9483-42e7-97e4-c053a066fb80" providerId="ADAL" clId="{1A30094E-9223-4333-9555-47538848094B}" dt="2022-10-07T22:19:14.698" v="1652" actId="478"/>
          <ac:spMkLst>
            <pc:docMk/>
            <pc:sldMk cId="2356554954" sldId="424"/>
            <ac:spMk id="4" creationId="{682E39DD-DF15-4777-A1DE-8148B14002A3}"/>
          </ac:spMkLst>
        </pc:spChg>
        <pc:spChg chg="del">
          <ac:chgData name="Adrianna Sonnek" userId="0407e21e-9483-42e7-97e4-c053a066fb80" providerId="ADAL" clId="{1A30094E-9223-4333-9555-47538848094B}" dt="2022-10-07T22:18:06.423" v="1432" actId="478"/>
          <ac:spMkLst>
            <pc:docMk/>
            <pc:sldMk cId="2356554954" sldId="424"/>
            <ac:spMk id="5" creationId="{59136CF8-2B71-477C-9282-ECC97AD9AF97}"/>
          </ac:spMkLst>
        </pc:spChg>
        <pc:spChg chg="del">
          <ac:chgData name="Adrianna Sonnek" userId="0407e21e-9483-42e7-97e4-c053a066fb80" providerId="ADAL" clId="{1A30094E-9223-4333-9555-47538848094B}" dt="2022-10-07T22:17:51.296" v="1429" actId="478"/>
          <ac:spMkLst>
            <pc:docMk/>
            <pc:sldMk cId="2356554954" sldId="424"/>
            <ac:spMk id="15" creationId="{45880A55-2F8C-418F-AB57-DEDEDD47EA5B}"/>
          </ac:spMkLst>
        </pc:spChg>
        <pc:spChg chg="add mod">
          <ac:chgData name="Adrianna Sonnek" userId="0407e21e-9483-42e7-97e4-c053a066fb80" providerId="ADAL" clId="{1A30094E-9223-4333-9555-47538848094B}" dt="2022-10-07T22:22:13.205" v="1995" actId="20577"/>
          <ac:spMkLst>
            <pc:docMk/>
            <pc:sldMk cId="2356554954" sldId="424"/>
            <ac:spMk id="17" creationId="{2E72F9CE-1FB0-4CC1-B756-413D43330425}"/>
          </ac:spMkLst>
        </pc:spChg>
        <pc:graphicFrameChg chg="del mod">
          <ac:chgData name="Adrianna Sonnek" userId="0407e21e-9483-42e7-97e4-c053a066fb80" providerId="ADAL" clId="{1A30094E-9223-4333-9555-47538848094B}" dt="2022-10-07T22:18:07.834" v="1433" actId="478"/>
          <ac:graphicFrameMkLst>
            <pc:docMk/>
            <pc:sldMk cId="2356554954" sldId="424"/>
            <ac:graphicFrameMk id="13" creationId="{BF7D4ACF-DB1B-4863-A406-01C54718D6D6}"/>
          </ac:graphicFrameMkLst>
        </pc:graphicFrameChg>
        <pc:graphicFrameChg chg="add mod">
          <ac:chgData name="Adrianna Sonnek" userId="0407e21e-9483-42e7-97e4-c053a066fb80" providerId="ADAL" clId="{1A30094E-9223-4333-9555-47538848094B}" dt="2022-10-07T22:22:23.462" v="1997" actId="14100"/>
          <ac:graphicFrameMkLst>
            <pc:docMk/>
            <pc:sldMk cId="2356554954" sldId="424"/>
            <ac:graphicFrameMk id="14" creationId="{01721ADF-E016-45D1-B63C-C457477AD405}"/>
          </ac:graphicFrameMkLst>
        </pc:graphicFrameChg>
        <pc:graphicFrameChg chg="del">
          <ac:chgData name="Adrianna Sonnek" userId="0407e21e-9483-42e7-97e4-c053a066fb80" providerId="ADAL" clId="{1A30094E-9223-4333-9555-47538848094B}" dt="2022-10-07T22:17:48.844" v="1427" actId="478"/>
          <ac:graphicFrameMkLst>
            <pc:docMk/>
            <pc:sldMk cId="2356554954" sldId="424"/>
            <ac:graphicFrameMk id="16" creationId="{FC048644-E2C0-41FB-95A6-3F9C9BB6A774}"/>
          </ac:graphicFrameMkLst>
        </pc:graphicFrameChg>
        <pc:picChg chg="del">
          <ac:chgData name="Adrianna Sonnek" userId="0407e21e-9483-42e7-97e4-c053a066fb80" providerId="ADAL" clId="{1A30094E-9223-4333-9555-47538848094B}" dt="2022-10-07T22:18:11.424" v="1434" actId="478"/>
          <ac:picMkLst>
            <pc:docMk/>
            <pc:sldMk cId="2356554954" sldId="424"/>
            <ac:picMk id="6" creationId="{883B31EA-DC2A-4A59-827B-59189640A0FF}"/>
          </ac:picMkLst>
        </pc:picChg>
        <pc:picChg chg="del">
          <ac:chgData name="Adrianna Sonnek" userId="0407e21e-9483-42e7-97e4-c053a066fb80" providerId="ADAL" clId="{1A30094E-9223-4333-9555-47538848094B}" dt="2022-10-07T22:17:49.824" v="1428" actId="478"/>
          <ac:picMkLst>
            <pc:docMk/>
            <pc:sldMk cId="2356554954" sldId="424"/>
            <ac:picMk id="18" creationId="{F800CFFA-52C0-44AB-8F83-933486B703E7}"/>
          </ac:picMkLst>
        </pc:picChg>
      </pc:sldChg>
      <pc:sldChg chg="new del">
        <pc:chgData name="Adrianna Sonnek" userId="0407e21e-9483-42e7-97e4-c053a066fb80" providerId="ADAL" clId="{1A30094E-9223-4333-9555-47538848094B}" dt="2022-10-07T22:48:07.300" v="2167" actId="2696"/>
        <pc:sldMkLst>
          <pc:docMk/>
          <pc:sldMk cId="2490549448" sldId="425"/>
        </pc:sldMkLst>
      </pc:sldChg>
      <pc:sldChg chg="modSp del mod">
        <pc:chgData name="Adrianna Sonnek" userId="0407e21e-9483-42e7-97e4-c053a066fb80" providerId="ADAL" clId="{1A30094E-9223-4333-9555-47538848094B}" dt="2022-10-10T12:49:40.764" v="2654" actId="2696"/>
        <pc:sldMkLst>
          <pc:docMk/>
          <pc:sldMk cId="4251954070" sldId="425"/>
        </pc:sldMkLst>
        <pc:spChg chg="mod">
          <ac:chgData name="Adrianna Sonnek" userId="0407e21e-9483-42e7-97e4-c053a066fb80" providerId="ADAL" clId="{1A30094E-9223-4333-9555-47538848094B}" dt="2022-10-07T22:51:12.875" v="2189" actId="1076"/>
          <ac:spMkLst>
            <pc:docMk/>
            <pc:sldMk cId="4251954070" sldId="425"/>
            <ac:spMk id="2" creationId="{5FE38DC5-B5EE-7548-990C-5872699219A7}"/>
          </ac:spMkLst>
        </pc:spChg>
        <pc:graphicFrameChg chg="mod">
          <ac:chgData name="Adrianna Sonnek" userId="0407e21e-9483-42e7-97e4-c053a066fb80" providerId="ADAL" clId="{1A30094E-9223-4333-9555-47538848094B}" dt="2022-10-07T22:50:02.784" v="2169" actId="14100"/>
          <ac:graphicFrameMkLst>
            <pc:docMk/>
            <pc:sldMk cId="4251954070" sldId="425"/>
            <ac:graphicFrameMk id="11" creationId="{671C1DFB-36F3-4FF2-B6F4-383FED474CED}"/>
          </ac:graphicFrameMkLst>
        </pc:graphicFrameChg>
      </pc:sldChg>
      <pc:sldChg chg="modSp add mod">
        <pc:chgData name="Adrianna Sonnek" userId="0407e21e-9483-42e7-97e4-c053a066fb80" providerId="ADAL" clId="{1A30094E-9223-4333-9555-47538848094B}" dt="2022-10-07T22:59:29.024" v="2650" actId="20577"/>
        <pc:sldMkLst>
          <pc:docMk/>
          <pc:sldMk cId="3251746611" sldId="426"/>
        </pc:sldMkLst>
        <pc:spChg chg="mod">
          <ac:chgData name="Adrianna Sonnek" userId="0407e21e-9483-42e7-97e4-c053a066fb80" providerId="ADAL" clId="{1A30094E-9223-4333-9555-47538848094B}" dt="2022-10-07T22:59:29.024" v="2650" actId="20577"/>
          <ac:spMkLst>
            <pc:docMk/>
            <pc:sldMk cId="3251746611" sldId="426"/>
            <ac:spMk id="2" creationId="{5FE38DC5-B5EE-7548-990C-5872699219A7}"/>
          </ac:spMkLst>
        </pc:spChg>
        <pc:graphicFrameChg chg="mod">
          <ac:chgData name="Adrianna Sonnek" userId="0407e21e-9483-42e7-97e4-c053a066fb80" providerId="ADAL" clId="{1A30094E-9223-4333-9555-47538848094B}" dt="2022-10-07T22:56:15.966" v="2635" actId="20577"/>
          <ac:graphicFrameMkLst>
            <pc:docMk/>
            <pc:sldMk cId="3251746611" sldId="426"/>
            <ac:graphicFrameMk id="14" creationId="{01721ADF-E016-45D1-B63C-C457477AD405}"/>
          </ac:graphicFrameMkLst>
        </pc:graphicFrameChg>
      </pc:sldChg>
      <pc:sldChg chg="modSp add mod">
        <pc:chgData name="Adrianna Sonnek" userId="0407e21e-9483-42e7-97e4-c053a066fb80" providerId="ADAL" clId="{1A30094E-9223-4333-9555-47538848094B}" dt="2022-10-10T13:00:11.156" v="2837"/>
        <pc:sldMkLst>
          <pc:docMk/>
          <pc:sldMk cId="1160280798" sldId="427"/>
        </pc:sldMkLst>
        <pc:graphicFrameChg chg="mod">
          <ac:chgData name="Adrianna Sonnek" userId="0407e21e-9483-42e7-97e4-c053a066fb80" providerId="ADAL" clId="{1A30094E-9223-4333-9555-47538848094B}" dt="2022-10-10T13:00:11.156" v="2837"/>
          <ac:graphicFrameMkLst>
            <pc:docMk/>
            <pc:sldMk cId="1160280798" sldId="427"/>
            <ac:graphicFrameMk id="11" creationId="{671C1DFB-36F3-4FF2-B6F4-383FED474CED}"/>
          </ac:graphicFrameMkLst>
        </pc:graphicFrameChg>
      </pc:sldChg>
      <pc:sldMasterChg chg="del delSldLayout">
        <pc:chgData name="Adrianna Sonnek" userId="0407e21e-9483-42e7-97e4-c053a066fb80" providerId="ADAL" clId="{1A30094E-9223-4333-9555-47538848094B}" dt="2022-10-10T12:49:40.764" v="2654" actId="2696"/>
        <pc:sldMasterMkLst>
          <pc:docMk/>
          <pc:sldMasterMk cId="3340745517" sldId="2147483744"/>
        </pc:sldMasterMkLst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964152425" sldId="2147483745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983641387" sldId="2147483746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587217498" sldId="2147483747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802123759" sldId="2147483748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504303137" sldId="2147483749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253791074" sldId="2147483750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908606075" sldId="2147483751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960706616" sldId="2147483752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20088277" sldId="2147483753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876386704" sldId="2147483754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852124433" sldId="2147483755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4161779223" sldId="2147483756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471694445" sldId="2147483757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093358575" sldId="2147483758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664700755" sldId="2147483759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285741220" sldId="2147483760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7643135" sldId="2147483761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924981056" sldId="2147483762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950115201" sldId="2147483763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828657817" sldId="2147483764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402990234" sldId="2147483765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247328788" sldId="2147483766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53893912" sldId="2147483767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435222352" sldId="2147483768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427350214" sldId="2147483769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648543165" sldId="2147483770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008968009" sldId="2147483771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321956010" sldId="2147483772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83614135" sldId="2147483773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1013120797" sldId="2147483774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010721269" sldId="2147483775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936949290" sldId="2147483776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315952114" sldId="2147483777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967701508" sldId="2147483778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42299264" sldId="2147483779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285976393" sldId="2147483780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2975411871" sldId="2147483781"/>
          </pc:sldLayoutMkLst>
        </pc:sldLayoutChg>
        <pc:sldLayoutChg chg="del">
          <pc:chgData name="Adrianna Sonnek" userId="0407e21e-9483-42e7-97e4-c053a066fb80" providerId="ADAL" clId="{1A30094E-9223-4333-9555-47538848094B}" dt="2022-10-10T12:49:40.764" v="2654" actId="2696"/>
          <pc:sldLayoutMkLst>
            <pc:docMk/>
            <pc:sldMasterMk cId="3340745517" sldId="2147483744"/>
            <pc:sldLayoutMk cId="3825747084" sldId="214748378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Yes</c:v>
                </c:pt>
                <c:pt idx="1">
                  <c:v>No</c:v>
                </c:pt>
                <c:pt idx="2">
                  <c:v>DON'T KNOW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82399999999999995</c:v>
                </c:pt>
                <c:pt idx="1">
                  <c:v>7.1999999999999995E-2</c:v>
                </c:pt>
                <c:pt idx="2">
                  <c:v>0.10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Yes</c:v>
                </c:pt>
                <c:pt idx="1">
                  <c:v>No</c:v>
                </c:pt>
                <c:pt idx="2">
                  <c:v>DON'T KNOW</c:v>
                </c:pt>
              </c:strCache>
            </c:strRef>
          </c:cat>
          <c:val>
            <c:numRef>
              <c:f>Sheet1!$C$2:$C$4</c:f>
              <c:numCache>
                <c:formatCode>0.0%</c:formatCode>
                <c:ptCount val="3"/>
                <c:pt idx="0">
                  <c:v>0.84599999999999997</c:v>
                </c:pt>
                <c:pt idx="1">
                  <c:v>5.1999999999999998E-2</c:v>
                </c:pt>
                <c:pt idx="2">
                  <c:v>9.9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5801984118636"/>
          <c:y val="4.9477370920551808E-2"/>
          <c:w val="0.50894473720372402"/>
          <c:h val="0.7817174812328597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12-4822-AE30-59C77415F03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12-4822-AE30-59C77415F03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12-4822-AE30-59C77415F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Would you consider receiving a flu vaccine from your dentist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11700000000000001</c:v>
                </c:pt>
                <c:pt idx="1">
                  <c:v>0.8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2-4F85-8D3D-E7A7F821FEB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Would you be</a:t>
            </a:r>
            <a:r>
              <a:rPr lang="en-US" baseline="0" dirty="0"/>
              <a:t> comfortable receiving the COVID-19 vaccine or booster from a dentist?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Yes</c:v>
                </c:pt>
                <c:pt idx="1">
                  <c:v>No</c:v>
                </c:pt>
                <c:pt idx="2">
                  <c:v>Don't know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4.3999999999999997E-2</c:v>
                </c:pt>
                <c:pt idx="1">
                  <c:v>0.84799999999999998</c:v>
                </c:pt>
                <c:pt idx="2">
                  <c:v>0.1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2-4F85-8D3D-E7A7F821FEB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Less than 6 Months Ago</c:v>
                </c:pt>
                <c:pt idx="1">
                  <c:v>6 Months to a Year Ago</c:v>
                </c:pt>
                <c:pt idx="2">
                  <c:v>1 to 2 Years Ago</c:v>
                </c:pt>
                <c:pt idx="3">
                  <c:v>2 to 5 Years Ago</c:v>
                </c:pt>
                <c:pt idx="4">
                  <c:v>5 or more years ago</c:v>
                </c:pt>
                <c:pt idx="5">
                  <c:v>Nev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62</c:v>
                </c:pt>
                <c:pt idx="1">
                  <c:v>0.188</c:v>
                </c:pt>
                <c:pt idx="2">
                  <c:v>9.0999999999999998E-2</c:v>
                </c:pt>
                <c:pt idx="3">
                  <c:v>7.0999999999999994E-2</c:v>
                </c:pt>
                <c:pt idx="4">
                  <c:v>2.1999999999999999E-2</c:v>
                </c:pt>
                <c:pt idx="5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44421381336591"/>
          <c:y val="1.7226742072046334E-2"/>
          <c:w val="0.8437006342214689"/>
          <c:h val="0.774233298379347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Less than 6 Months Ago</c:v>
                </c:pt>
                <c:pt idx="1">
                  <c:v>6 Months to a Year Ago</c:v>
                </c:pt>
                <c:pt idx="2">
                  <c:v>1 to 2 Years Ago</c:v>
                </c:pt>
                <c:pt idx="3">
                  <c:v>2 to 5 Years Ago</c:v>
                </c:pt>
                <c:pt idx="4">
                  <c:v>5 or more years ago</c:v>
                </c:pt>
                <c:pt idx="5">
                  <c:v>Nev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45800000000000002</c:v>
                </c:pt>
                <c:pt idx="1">
                  <c:v>0.191</c:v>
                </c:pt>
                <c:pt idx="2">
                  <c:v>0.13</c:v>
                </c:pt>
                <c:pt idx="3">
                  <c:v>0.129</c:v>
                </c:pt>
                <c:pt idx="4">
                  <c:v>8.1000000000000003E-2</c:v>
                </c:pt>
                <c:pt idx="5">
                  <c:v>1.0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5F-42DF-9BCD-0733897FC0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When was your last visit to the Dentist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344421381336591"/>
          <c:y val="1.7226742072046334E-2"/>
          <c:w val="0.8437006342214689"/>
          <c:h val="0.774233298379347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Less than 6 Months Ago</c:v>
                </c:pt>
                <c:pt idx="1">
                  <c:v>6 Months to a Year Ago</c:v>
                </c:pt>
                <c:pt idx="2">
                  <c:v>1 to 2 Years Ago</c:v>
                </c:pt>
                <c:pt idx="3">
                  <c:v>2 to 5 Years Ago</c:v>
                </c:pt>
                <c:pt idx="4">
                  <c:v>5 or more years ago</c:v>
                </c:pt>
                <c:pt idx="5">
                  <c:v>Nev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24399999999999999</c:v>
                </c:pt>
                <c:pt idx="1">
                  <c:v>0.14399999999999999</c:v>
                </c:pt>
                <c:pt idx="2">
                  <c:v>0.20200000000000001</c:v>
                </c:pt>
                <c:pt idx="3">
                  <c:v>0.23200000000000001</c:v>
                </c:pt>
                <c:pt idx="4">
                  <c:v>0.14899999999999999</c:v>
                </c:pt>
                <c:pt idx="5">
                  <c:v>2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76-4859-84AD-CF76BFB25FE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When was your last visit to the Dentist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344421381336591"/>
          <c:y val="1.7226742072046334E-2"/>
          <c:w val="0.8437006342214689"/>
          <c:h val="0.774233298379347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Less than 6 Months Ago</c:v>
                </c:pt>
                <c:pt idx="1">
                  <c:v>6 Months to a Year Ago</c:v>
                </c:pt>
                <c:pt idx="2">
                  <c:v>1 to 2 Years Ago</c:v>
                </c:pt>
                <c:pt idx="3">
                  <c:v>2 to 5 Years Ago</c:v>
                </c:pt>
                <c:pt idx="4">
                  <c:v>5 or more years ago</c:v>
                </c:pt>
                <c:pt idx="5">
                  <c:v>Nev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42099999999999999</c:v>
                </c:pt>
                <c:pt idx="1">
                  <c:v>0.186</c:v>
                </c:pt>
                <c:pt idx="2">
                  <c:v>0.14299999999999999</c:v>
                </c:pt>
                <c:pt idx="3">
                  <c:v>0.14699999999999999</c:v>
                </c:pt>
                <c:pt idx="4">
                  <c:v>9.4E-2</c:v>
                </c:pt>
                <c:pt idx="5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76-4859-84AD-CF76BFB25FE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559009424912298E-2"/>
          <c:y val="5.7021968786954202E-2"/>
          <c:w val="0.90353329001390081"/>
          <c:h val="0.706015916981856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BA-4E4F-B5E6-40170E315B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Always</c:v>
                </c:pt>
                <c:pt idx="1">
                  <c:v>Often</c:v>
                </c:pt>
                <c:pt idx="2">
                  <c:v>Occasionally</c:v>
                </c:pt>
                <c:pt idx="3">
                  <c:v>Rarely</c:v>
                </c:pt>
                <c:pt idx="4">
                  <c:v>Never</c:v>
                </c:pt>
                <c:pt idx="5">
                  <c:v>No Primary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158</c:v>
                </c:pt>
                <c:pt idx="1">
                  <c:v>0.17599999999999999</c:v>
                </c:pt>
                <c:pt idx="2">
                  <c:v>0.22600000000000001</c:v>
                </c:pt>
                <c:pt idx="3">
                  <c:v>0.14799999999999999</c:v>
                </c:pt>
                <c:pt idx="4">
                  <c:v>0.184</c:v>
                </c:pt>
                <c:pt idx="5">
                  <c:v>7.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BA-4E4F-B5E6-40170E315B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092780506860854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3BA-4E4F-B5E6-40170E315B26}"/>
                </c:ext>
              </c:extLst>
            </c:dLbl>
            <c:dLbl>
              <c:idx val="1"/>
              <c:layout>
                <c:manualLayout>
                  <c:x val="1.7484488109773676E-2"/>
                  <c:y val="-8.35352787735047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3BA-4E4F-B5E6-40170E315B26}"/>
                </c:ext>
              </c:extLst>
            </c:dLbl>
            <c:dLbl>
              <c:idx val="2"/>
              <c:layout>
                <c:manualLayout>
                  <c:x val="2.7777780815592828E-2"/>
                  <c:y val="-4.78321941173559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BA-4E4F-B5E6-40170E315B26}"/>
                </c:ext>
              </c:extLst>
            </c:dLbl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BA-4E4F-B5E6-40170E315B26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3BA-4E4F-B5E6-40170E315B26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3BA-4E4F-B5E6-40170E315B26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3BA-4E4F-B5E6-40170E315B26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3BA-4E4F-B5E6-40170E315B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Always</c:v>
                </c:pt>
                <c:pt idx="1">
                  <c:v>Often</c:v>
                </c:pt>
                <c:pt idx="2">
                  <c:v>Occasionally</c:v>
                </c:pt>
                <c:pt idx="3">
                  <c:v>Rarely</c:v>
                </c:pt>
                <c:pt idx="4">
                  <c:v>Never</c:v>
                </c:pt>
                <c:pt idx="5">
                  <c:v>No Primary</c:v>
                </c:pt>
              </c:strCache>
            </c:strRef>
          </c:cat>
          <c:val>
            <c:numRef>
              <c:f>Sheet1!$C$2:$C$7</c:f>
              <c:numCache>
                <c:formatCode>0.0%</c:formatCode>
                <c:ptCount val="6"/>
                <c:pt idx="0">
                  <c:v>0.17499999999999999</c:v>
                </c:pt>
                <c:pt idx="1">
                  <c:v>0.17699999999999999</c:v>
                </c:pt>
                <c:pt idx="2">
                  <c:v>0.24099999999999999</c:v>
                </c:pt>
                <c:pt idx="3">
                  <c:v>0.152</c:v>
                </c:pt>
                <c:pt idx="4">
                  <c:v>6.6000000000000003E-2</c:v>
                </c:pt>
                <c:pt idx="5">
                  <c:v>7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BA-4E4F-B5E6-40170E315B2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339710706157616"/>
          <c:y val="0.87091507336957075"/>
          <c:w val="9.7592355010828857E-2"/>
          <c:h val="8.03458097437982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 dirty="0">
                <a:effectLst/>
              </a:rPr>
              <a:t>Comfort: Are you comfortable with your oral health provider measuring or screening for the following? </a:t>
            </a:r>
          </a:p>
          <a:p>
            <a:pPr>
              <a:defRPr sz="1600"/>
            </a:pPr>
            <a:r>
              <a:rPr lang="en-US" sz="1400" b="0" i="0" u="none" strike="noStrike" baseline="0" dirty="0">
                <a:effectLst/>
              </a:rPr>
              <a:t>Utilization: Has your oral health provider checked any of the following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016423135290758E-2"/>
          <c:y val="0.11024934711968658"/>
          <c:w val="0.89759622056557808"/>
          <c:h val="0.74482476696228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for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17C-41E5-A411-4FA5B104FD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creened for Oral Cancer</c:v>
                </c:pt>
                <c:pt idx="1">
                  <c:v>Blood Pressure</c:v>
                </c:pt>
                <c:pt idx="2">
                  <c:v>Overall health screening*</c:v>
                </c:pt>
                <c:pt idx="3">
                  <c:v>Screened for Covid-19</c:v>
                </c:pt>
                <c:pt idx="4">
                  <c:v>Asked about Vaccination history</c:v>
                </c:pt>
                <c:pt idx="5">
                  <c:v>Screened for Diabetes</c:v>
                </c:pt>
                <c:pt idx="6">
                  <c:v>Height, Weight, BMI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0.81699999999999995</c:v>
                </c:pt>
                <c:pt idx="1">
                  <c:v>0.72599999999999998</c:v>
                </c:pt>
                <c:pt idx="2">
                  <c:v>0.65700000000000003</c:v>
                </c:pt>
                <c:pt idx="3">
                  <c:v>0.63400000000000001</c:v>
                </c:pt>
                <c:pt idx="4">
                  <c:v>0.625</c:v>
                </c:pt>
                <c:pt idx="5">
                  <c:v>0.57799999999999996</c:v>
                </c:pt>
                <c:pt idx="6">
                  <c:v>0.56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creened for Oral Cancer</c:v>
                </c:pt>
                <c:pt idx="1">
                  <c:v>Blood Pressure</c:v>
                </c:pt>
                <c:pt idx="2">
                  <c:v>Overall health screening*</c:v>
                </c:pt>
                <c:pt idx="3">
                  <c:v>Screened for Covid-19</c:v>
                </c:pt>
                <c:pt idx="4">
                  <c:v>Asked about Vaccination history</c:v>
                </c:pt>
                <c:pt idx="5">
                  <c:v>Screened for Diabetes</c:v>
                </c:pt>
                <c:pt idx="6">
                  <c:v>Height, Weight, BMI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7"/>
                <c:pt idx="0">
                  <c:v>0.35599999999999998</c:v>
                </c:pt>
                <c:pt idx="1">
                  <c:v>0.371</c:v>
                </c:pt>
                <c:pt idx="2">
                  <c:v>0.29299999999999998</c:v>
                </c:pt>
                <c:pt idx="3">
                  <c:v>0.214</c:v>
                </c:pt>
                <c:pt idx="4">
                  <c:v>0.218</c:v>
                </c:pt>
                <c:pt idx="5">
                  <c:v>0.111</c:v>
                </c:pt>
                <c:pt idx="6">
                  <c:v>0.20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BB-49B5-99BD-EA2F14E87B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712147579400114"/>
          <c:y val="0.18653355769629459"/>
          <c:w val="0.32836302554602781"/>
          <c:h val="7.40534255663206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62" b="0" i="0" u="none" strike="noStrike" baseline="0" dirty="0">
                <a:effectLst/>
              </a:rPr>
              <a:t>Thinking of your child who has most recently been to the dentist, has their oral health provider ever checked any of the following?</a:t>
            </a:r>
            <a:r>
              <a:rPr lang="en-US" sz="1200" b="0" i="0" u="none" strike="noStrike" baseline="0" dirty="0">
                <a:effectLst/>
              </a:rPr>
              <a:t> vs. </a:t>
            </a:r>
            <a:r>
              <a:rPr lang="en-US" sz="1860" b="0" i="0" u="none" strike="noStrike" baseline="0" dirty="0">
                <a:effectLst/>
              </a:rPr>
              <a:t>Adult Screening</a:t>
            </a:r>
            <a:endParaRPr lang="en-US" sz="186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75314130345885E-2"/>
          <c:y val="0.10957897589249101"/>
          <c:w val="0.904283043577918"/>
          <c:h val="0.6425321397482535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Children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1450406946969302E-3"/>
                  <c:y val="-4.783293006272476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DFD-48F9-9BF7-9843394B55E8}"/>
                </c:ext>
              </c:extLst>
            </c:dLbl>
            <c:dLbl>
              <c:idx val="3"/>
              <c:layout>
                <c:manualLayout>
                  <c:x val="-4.2337437962832632E-3"/>
                  <c:y val="-2.391646503136238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FD-48F9-9BF7-9843394B55E8}"/>
                </c:ext>
              </c:extLst>
            </c:dLbl>
            <c:dLbl>
              <c:idx val="6"/>
              <c:layout>
                <c:manualLayout>
                  <c:x val="1.3553491052851452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DFD-48F9-9BF7-9843394B55E8}"/>
                </c:ext>
              </c:extLst>
            </c:dLbl>
            <c:dLbl>
              <c:idx val="7"/>
              <c:layout>
                <c:manualLayout>
                  <c:x val="3.097953348260748E-3"/>
                  <c:y val="-3.928631094122321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DFD-48F9-9BF7-9843394B55E8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DFD-48F9-9BF7-9843394B55E8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DFD-48F9-9BF7-9843394B55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Blood Pressure</c:v>
                </c:pt>
                <c:pt idx="1">
                  <c:v>Screened for Oral Cancer</c:v>
                </c:pt>
                <c:pt idx="2">
                  <c:v>Overall health screening*</c:v>
                </c:pt>
                <c:pt idx="3">
                  <c:v>Asked about Vaccination history</c:v>
                </c:pt>
                <c:pt idx="4">
                  <c:v>Screened for Covid-19</c:v>
                </c:pt>
                <c:pt idx="5">
                  <c:v>Height, Weight, BMI</c:v>
                </c:pt>
                <c:pt idx="6">
                  <c:v>Screened for Diabetes</c:v>
                </c:pt>
                <c:pt idx="7">
                  <c:v>Screened for HIV*</c:v>
                </c:pt>
              </c:strCache>
            </c:strRef>
          </c:cat>
          <c:val>
            <c:numRef>
              <c:f>Sheet1!$B$2:$B$9</c:f>
              <c:numCache>
                <c:formatCode>0.0%</c:formatCode>
                <c:ptCount val="8"/>
                <c:pt idx="0">
                  <c:v>0.255</c:v>
                </c:pt>
                <c:pt idx="1">
                  <c:v>0.216</c:v>
                </c:pt>
                <c:pt idx="2">
                  <c:v>0.33900000000000002</c:v>
                </c:pt>
                <c:pt idx="3">
                  <c:v>0.20200000000000001</c:v>
                </c:pt>
                <c:pt idx="4">
                  <c:v>0.23799999999999999</c:v>
                </c:pt>
                <c:pt idx="5">
                  <c:v>0.25700000000000001</c:v>
                </c:pt>
                <c:pt idx="6">
                  <c:v>0.10199999999999999</c:v>
                </c:pt>
                <c:pt idx="7">
                  <c:v>6.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DFD-48F9-9BF7-9843394B55E8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Adul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Blood Pressure</c:v>
                </c:pt>
                <c:pt idx="1">
                  <c:v>Screened for Oral Cancer</c:v>
                </c:pt>
                <c:pt idx="2">
                  <c:v>Overall health screening*</c:v>
                </c:pt>
                <c:pt idx="3">
                  <c:v>Asked about Vaccination history</c:v>
                </c:pt>
                <c:pt idx="4">
                  <c:v>Screened for Covid-19</c:v>
                </c:pt>
                <c:pt idx="5">
                  <c:v>Height, Weight, BMI</c:v>
                </c:pt>
                <c:pt idx="6">
                  <c:v>Screened for Diabetes</c:v>
                </c:pt>
                <c:pt idx="7">
                  <c:v>Screened for HIV*</c:v>
                </c:pt>
              </c:strCache>
            </c:strRef>
          </c:cat>
          <c:val>
            <c:numRef>
              <c:f>Sheet1!$C$2:$C$9</c:f>
              <c:numCache>
                <c:formatCode>0.0%</c:formatCode>
                <c:ptCount val="8"/>
                <c:pt idx="0">
                  <c:v>0.371</c:v>
                </c:pt>
                <c:pt idx="1">
                  <c:v>0.35599999999999998</c:v>
                </c:pt>
                <c:pt idx="2">
                  <c:v>0.29299999999999998</c:v>
                </c:pt>
                <c:pt idx="3">
                  <c:v>0.218</c:v>
                </c:pt>
                <c:pt idx="4">
                  <c:v>0.214</c:v>
                </c:pt>
                <c:pt idx="5">
                  <c:v>0.20599999999999999</c:v>
                </c:pt>
                <c:pt idx="6">
                  <c:v>0.111</c:v>
                </c:pt>
                <c:pt idx="7">
                  <c:v>6.6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6D-4CDD-8AD1-9DA02B7AA5A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31727419418813663"/>
          <c:y val="0.8526167026772532"/>
          <c:w val="0.21464991538830641"/>
          <c:h val="0.10450727845495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5801984118636"/>
          <c:y val="4.9477370920551808E-2"/>
          <c:w val="0.50894473720372402"/>
          <c:h val="0.7817174812328597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B6-438C-9EDB-5B6DB33D7A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5B6-438C-9EDB-5B6DB33D7A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</c:v>
                </c:pt>
                <c:pt idx="1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5C-4D9B-80D5-79C3156D6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21C0E0-04DB-4E21-8706-F8543E292323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3FDDFA-31EC-4988-9DFB-FFD4628E4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75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8282F2-5913-4EDC-A854-E9D2AE66B5B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26675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st consumers surveyed report that they are comfortable receiving health screenings from their oral health provi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10BA5-E037-324B-A239-07AF460C56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1901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71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2022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ntal offices provide an opportunity to interface with hard to reach populations regarding vaccin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0586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ntal offices provide an opportunity to interface with hard to reach populations regarding vaccin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559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88B10-B7DC-4F23-A204-6700E4CDB06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874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8282F2-5913-4EDC-A854-E9D2AE66B5B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524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EC831D-AA7D-6D4B-9E9A-AC97125AEC8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96797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10BA5-E037-324B-A239-07AF460C56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0637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9.2% of the population reports that they haven’t been to a medical provider in the last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10BA5-E037-324B-A239-07AF460C56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97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round 38% of those that reported that they hadn’t seen a medical provider in the past year had seen a dentist.  The dentist office provides a vital healthcare access point for those who haven’t accessed any other kind of ca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10BA5-E037-324B-A239-07AF460C56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099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10BA5-E037-324B-A239-07AF460C56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657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t appears overall that the number of oral health providers asking about overall health has increased slightly from 2021 to 2022.  In 2022, 22% of consumers report their primary oral health provider rarely or never ask about their overall health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62% of consumers indicated that their primary medical doctor rarely or never asked about their oral health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410BA5-E037-324B-A239-07AF460C56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637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5.png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6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7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7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4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4" Type="http://schemas.openxmlformats.org/officeDocument/2006/relationships/image" Target="../media/image7.emf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5" Type="http://schemas.openxmlformats.org/officeDocument/2006/relationships/image" Target="../media/image5.png"/><Relationship Id="rId4" Type="http://schemas.openxmlformats.org/officeDocument/2006/relationships/image" Target="../media/image8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6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9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6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7.emf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C69E1-DF2A-443B-9CF0-BA7F5CD440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425F70-7480-4B55-8675-625C68064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CB41CC-E003-4A07-AF00-ADD5251E1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42FC3-9BD1-4FA3-9F40-8892492D2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B475B8-0A54-4D14-AB67-E244BC4DC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744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DC7E75-4FEC-44F1-A0F0-43A7E3E6F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EC646E-568A-4932-B373-F97640B34C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84E7C4-5DA9-4438-B9FC-6A4BBDB78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E481F-D642-48C8-95BB-095ED5AA7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FBBF7-154B-4080-B866-D88B2FD35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965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5443F9-89E2-41B1-A0BF-BAD962ED97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164A02-C624-4143-AB27-FB622D75BA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477FB1-1055-4DC1-837E-AB3565136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E2C9D2-4D66-4808-BBA2-6EA980308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88A3BB-3C19-4F66-B802-5918E14B4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51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343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9089516" cy="201930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10839448" cy="1371599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805E39-2073-418B-A986-F392C9B3BE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6" y="4343400"/>
            <a:ext cx="5254625" cy="7048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413071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8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9089516" cy="201930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10839448" cy="1371599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805E39-2073-418B-A986-F392C9B3BE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6" y="4343400"/>
            <a:ext cx="5254625" cy="704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CB8D2B-0080-194E-8F31-E630E9CA43B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2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EA2F1B1-9452-3B47-A410-6A92F8E7F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0354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0">
          <p15:clr>
            <a:srgbClr val="FBAE40"/>
          </p15:clr>
        </p15:guide>
        <p15:guide id="2" pos="724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F5FC9D-25EF-E44C-9CF9-C110B8341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1801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0">
          <p15:clr>
            <a:srgbClr val="FBAE40"/>
          </p15:clr>
        </p15:guide>
        <p15:guide id="2" pos="724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54480"/>
            <a:ext cx="10820400" cy="42337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5912A0-2096-8547-ACCA-E84C356C065B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2ECBA4B-6198-5D4F-A9C6-90701BABD07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179E91C-EA2A-EE4B-8F2E-F744CD71D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6655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810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">
          <p15:clr>
            <a:srgbClr val="FBAE40"/>
          </p15:clr>
        </p15:guide>
        <p15:guide id="2" orient="horz" pos="916">
          <p15:clr>
            <a:srgbClr val="FBAE40"/>
          </p15:clr>
        </p15:guide>
        <p15:guide id="3" orient="horz" pos="974">
          <p15:clr>
            <a:srgbClr val="FBAE40"/>
          </p15:clr>
        </p15:guide>
        <p15:guide id="4" orient="horz" pos="3792">
          <p15:clr>
            <a:srgbClr val="FBAE40"/>
          </p15:clr>
        </p15:guide>
        <p15:guide id="6" pos="430">
          <p15:clr>
            <a:srgbClr val="FBAE40"/>
          </p15:clr>
        </p15:guide>
        <p15:guide id="7" pos="7251">
          <p15:clr>
            <a:srgbClr val="FBAE40"/>
          </p15:clr>
        </p15:guide>
        <p15:guide id="8" orient="horz" pos="414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678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08020E-DEAF-844C-846B-6B06F69D7C6F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8674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30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4">
          <p15:clr>
            <a:srgbClr val="FBAE40"/>
          </p15:clr>
        </p15:guide>
        <p15:guide id="6" orient="horz" pos="916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930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9590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9590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08020E-DEAF-844C-846B-6B06F69D7C6F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554284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30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4">
          <p15:clr>
            <a:srgbClr val="FBAE40"/>
          </p15:clr>
        </p15:guide>
        <p15:guide id="6" orient="horz" pos="916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337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2488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24884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A49326E-611B-9141-A285-4871899E6BDD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4E733E-AB5F-8647-9DEF-DAF91768AC0F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04F0CD-F17C-C34F-AE2B-4564FE9177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74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28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4">
          <p15:clr>
            <a:srgbClr val="FBAE40"/>
          </p15:clr>
        </p15:guide>
        <p15:guide id="7" orient="horz" pos="974">
          <p15:clr>
            <a:srgbClr val="FBAE40"/>
          </p15:clr>
        </p15:guide>
        <p15:guide id="9" orient="horz" pos="3792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2C1CA-511B-4B51-9686-63F2C65D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759B21-371A-4113-9DCA-09E6B6814E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635C75-2782-4A81-BF1B-28C3C0282B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1612A8-DAA4-4E73-A4E7-F79AADB68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AC4E6-3E9C-4B37-AE68-31528CC6C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613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3344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07CEAC-2C27-A64B-A088-3F4F42ABFB3A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934547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814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07CEAC-2C27-A64B-A088-3F4F42ABFB3A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897303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61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BE34A8C-692E-584C-9ACB-8B9E24195584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6514E9-F46E-5546-BFFF-6C5403D2DB11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DCCAC0-DDDC-8E4F-BEBF-BD212ABCB1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213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8">
          <p15:clr>
            <a:srgbClr val="FBAE40"/>
          </p15:clr>
        </p15:guide>
        <p15:guide id="2" pos="2844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9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916">
          <p15:clr>
            <a:srgbClr val="FBAE40"/>
          </p15:clr>
        </p15:guide>
        <p15:guide id="8" orient="horz" pos="304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89">
          <p15:clr>
            <a:srgbClr val="FBAE40"/>
          </p15:clr>
        </p15:guide>
        <p15:guide id="12" orient="horz" pos="414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61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79"/>
            <a:ext cx="3149600" cy="425151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79"/>
            <a:ext cx="6985000" cy="425151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5D95B0A-AFCF-8E47-8231-980049A3FF59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242432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8">
          <p15:clr>
            <a:srgbClr val="FBAE40"/>
          </p15:clr>
        </p15:guide>
        <p15:guide id="2" pos="2846">
          <p15:clr>
            <a:srgbClr val="FBAE40"/>
          </p15:clr>
        </p15:guide>
        <p15:guide id="3" pos="432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918">
          <p15:clr>
            <a:srgbClr val="FBAE40"/>
          </p15:clr>
        </p15:guide>
        <p15:guide id="6" orient="horz" pos="308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92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587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800" y="1554479"/>
            <a:ext cx="4657724" cy="4242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86167"/>
            <a:ext cx="4657725" cy="966701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AEBFDB-020C-BA45-BD44-18B5B63448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-1"/>
            <a:ext cx="6096000" cy="685799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52146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366">
          <p15:clr>
            <a:srgbClr val="FBAE40"/>
          </p15:clr>
        </p15:guide>
        <p15:guide id="3" pos="429">
          <p15:clr>
            <a:srgbClr val="FBAE40"/>
          </p15:clr>
        </p15:guide>
        <p15:guide id="4" orient="horz" pos="918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orient="horz" pos="974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936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B54EDF0-EE16-F249-BE06-487F678FF89B}"/>
              </a:ext>
            </a:extLst>
          </p:cNvPr>
          <p:cNvSpPr/>
          <p:nvPr/>
        </p:nvSpPr>
        <p:spPr>
          <a:xfrm>
            <a:off x="6457951" y="1554479"/>
            <a:ext cx="5048249" cy="42603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2A61A17-3CE4-794D-9056-719C8031E2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6039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457950" y="1554479"/>
            <a:ext cx="5048249" cy="426039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34E907-8ECD-A247-90F0-8089C11A74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312625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68">
          <p15:clr>
            <a:srgbClr val="FBAE40"/>
          </p15:clr>
        </p15:guide>
        <p15:guide id="2" pos="3612">
          <p15:clr>
            <a:srgbClr val="FBAE40"/>
          </p15:clr>
        </p15:guide>
        <p15:guide id="3" pos="429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orient="horz" pos="918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442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B54EDF0-EE16-F249-BE06-487F678FF89B}"/>
              </a:ext>
            </a:extLst>
          </p:cNvPr>
          <p:cNvSpPr/>
          <p:nvPr/>
        </p:nvSpPr>
        <p:spPr>
          <a:xfrm>
            <a:off x="685801" y="1554480"/>
            <a:ext cx="10820400" cy="42426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85800" y="1554479"/>
            <a:ext cx="10820400" cy="424263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96636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48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0563" y="1554479"/>
            <a:ext cx="10820400" cy="4283614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436934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B43944D-6D92-4F40-BFAA-5B27C8ABD3E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318773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305">
          <p15:clr>
            <a:srgbClr val="FBAE40"/>
          </p15:clr>
        </p15:guide>
        <p15:guide id="4" orient="horz" pos="918">
          <p15:clr>
            <a:srgbClr val="FBAE40"/>
          </p15:clr>
        </p15:guide>
        <p15:guide id="5" orient="horz" pos="3789">
          <p15:clr>
            <a:srgbClr val="FBAE40"/>
          </p15:clr>
        </p15:guide>
        <p15:guide id="7" orient="horz" pos="41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14AD9C5-6228-ED44-889E-6904764410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7CB764-653A-3D40-A383-E25B1CA34C60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C25B89-0A47-6847-B754-E3CA7837F7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298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1">
          <p15:clr>
            <a:srgbClr val="FBAE40"/>
          </p15:clr>
        </p15:guide>
        <p15:guide id="2" pos="429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3789">
          <p15:clr>
            <a:srgbClr val="FBAE40"/>
          </p15:clr>
        </p15:guide>
        <p15:guide id="7" orient="horz" pos="414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C4BB6D-9F81-46A4-8F66-BE4558F05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026FEA-565F-4E92-90FF-DD07AE6F1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1CC1FF-4EA5-4F20-A3FF-8123A51CA5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7CA73-9B16-4240-963D-AD6145158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61156C-B118-489A-ABDE-4DA40A9AE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5880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49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06201F-83F0-4304-B1F9-B02CCDB0F90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136187" cy="1462087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28666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542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50DA8-42F8-45FD-9083-3FD9096304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734675" cy="165735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103330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449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C0B21A-34FD-434E-AD6A-6FD7FA899829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E1FCE1-4399-4142-8D1B-EC751D53CBD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664825" cy="146208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0BD4CA-9931-9E4E-BB70-EA84A5F4CE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2682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43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7BB59BB-CB13-104E-A23E-FC98C0B84C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B6C995-740F-9D43-90F7-B61814D2A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68580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11861829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120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7BB59BB-CB13-104E-A23E-FC98C0B84C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B6C995-740F-9D43-90F7-B61814D2A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68580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85122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13314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544A32-2950-5840-B535-B41E4F58B9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20361" y="2383747"/>
            <a:ext cx="3943453" cy="14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2191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3F6D07F-A63F-E542-B09E-E79310F1A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90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3F6D07F-A63F-E542-B09E-E79310F1A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2434B36-8E71-9446-A1BC-5D5BF99F32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20362" y="2362297"/>
            <a:ext cx="3943452" cy="14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1867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942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5B91738-4B95-2140-9C94-01849D0CBA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260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EE55E4-2AC4-1643-B946-18BF3435E2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A8A2AFC-14B9-4E44-807C-AA683A7D1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6468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041BBF7-1139-944E-BB1F-E4A521CA4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136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708A00-168A-1744-A1FD-95C224DF40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87803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82E5E583-0CCC-5749-A61E-8B68166D0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4774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73B3615F-7B7F-C049-A051-269B92BDA1E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86288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7BED6C5F-628A-634C-A1BE-5BCC177EAC2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87803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8E43F54-A4C7-E048-AEC6-C190217EF53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549391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pos="1968">
          <p15:clr>
            <a:srgbClr val="FBAE40"/>
          </p15:clr>
        </p15:guide>
        <p15:guide id="7" pos="2184">
          <p15:clr>
            <a:srgbClr val="FBAE40"/>
          </p15:clr>
        </p15:guide>
        <p15:guide id="8" pos="3720">
          <p15:clr>
            <a:srgbClr val="FBAE40"/>
          </p15:clr>
        </p15:guide>
        <p15:guide id="9" pos="3960">
          <p15:clr>
            <a:srgbClr val="FBAE40"/>
          </p15:clr>
        </p15:guide>
        <p15:guide id="10" pos="5472">
          <p15:clr>
            <a:srgbClr val="FBAE40"/>
          </p15:clr>
        </p15:guide>
        <p15:guide id="11" pos="5712">
          <p15:clr>
            <a:srgbClr val="FBAE40"/>
          </p15:clr>
        </p15:guide>
        <p15:guide id="12" orient="horz" pos="1663">
          <p15:clr>
            <a:srgbClr val="FBAE40"/>
          </p15:clr>
        </p15:guide>
        <p15:guide id="13" orient="horz" pos="1968">
          <p15:clr>
            <a:srgbClr val="FBAE40"/>
          </p15:clr>
        </p15:guide>
        <p15:guide id="15" orient="horz" pos="4145">
          <p15:clr>
            <a:srgbClr val="FBAE40"/>
          </p15:clr>
        </p15:guide>
        <p15:guide id="16" orient="horz" pos="379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84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1177A3D-4A3B-7947-AEC5-B449F32D17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D277856-EAAC-5045-8D25-579EF6B0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1708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AEEC403-2E22-7449-9722-70875FDAA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16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CFE25B-CB8D-2942-8363-87001A496E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C71ADF9-E7ED-A84F-A07E-475C447D3F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75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3C59C0B-0B99-8946-A964-B883A7CF6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1363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0435EC5-7AF3-ED45-A2D1-126EEFDB608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87158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  <p15:guide id="13" orient="horz" pos="196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E3FED-53A2-46C1-81E4-A05CEAAF1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40CE69-6EB1-4B18-9A6D-4A3914ED58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FC9797-CAB9-4FB7-B6E1-FF5A54227C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5920F3-A903-45E4-85C9-34DA216E46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FEF463-F5D0-483B-9CD4-AF1D1B7CE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2077A0-B947-495E-89D2-4E0486464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424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907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1177A3D-4A3B-7947-AEC5-B449F32D17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124201"/>
            <a:ext cx="3149600" cy="2726184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D277856-EAAC-5045-8D25-579EF6B0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1708" y="3124200"/>
            <a:ext cx="3149600" cy="27261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AEEC403-2E22-7449-9722-70875FDAA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16" y="3124200"/>
            <a:ext cx="3149600" cy="27261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CFE25B-CB8D-2942-8363-87001A496E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C71ADF9-E7ED-A84F-A07E-475C447D3F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75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3C59C0B-0B99-8946-A964-B883A7CF6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1363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0435EC5-7AF3-ED45-A2D1-126EEFDB608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894866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  <p15:guide id="13" orient="horz" pos="196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atistics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E98416-ED3F-DA4E-8DAD-172FB9B1A3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604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E98416-ED3F-DA4E-8DAD-172FB9B1A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BA4B35-07F1-924E-A4FB-E9D9F6765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5A373B-F92F-AD4D-ACB1-2A44B9F696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5625" y="1752600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F6735D1-DD43-874F-A02D-C8C48903BB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1552576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7C01DEE-14A2-DE44-98D6-0BFE7F615D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95625" y="3876675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0A6BDAC-0412-8943-B027-07A2B58B9C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3676651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3080F4-ADD6-8B4C-900B-D999C52FCE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34451" y="1752600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84C6C70-4A44-1042-BE56-7AADBDA24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4626" y="1552576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5C41753-5911-7E4B-961D-22FADC3D56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34451" y="3876675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00562E4-0171-C74A-AC57-85230A0231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4626" y="3676651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71F6816-DFC3-AB4A-B1D5-6204CF5FE92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823112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pos="4100">
          <p15:clr>
            <a:srgbClr val="FBAE40"/>
          </p15:clr>
        </p15:guide>
        <p15:guide id="4" pos="3575">
          <p15:clr>
            <a:srgbClr val="FBAE40"/>
          </p15:clr>
        </p15:guide>
        <p15:guide id="5" orient="horz" pos="4152">
          <p15:clr>
            <a:srgbClr val="FBAE40"/>
          </p15:clr>
        </p15:guide>
        <p15:guide id="6" orient="horz" pos="307">
          <p15:clr>
            <a:srgbClr val="FBAE40"/>
          </p15:clr>
        </p15:guide>
        <p15:guide id="7" orient="horz" pos="91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51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62425"/>
            <a:ext cx="4657724" cy="876632"/>
          </a:xfrm>
        </p:spPr>
        <p:txBody>
          <a:bodyPr/>
          <a:lstStyle>
            <a:lvl1pPr marL="9525" indent="0">
              <a:buFont typeface="System Font Regular"/>
              <a:buNone/>
              <a:tabLst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7A3446-F8E2-3146-BA41-1032A482FC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38301"/>
            <a:ext cx="6781799" cy="2343150"/>
          </a:xfrm>
        </p:spPr>
        <p:txBody>
          <a:bodyPr/>
          <a:lstStyle>
            <a:lvl1pPr marL="179388" indent="-179388">
              <a:lnSpc>
                <a:spcPct val="100000"/>
              </a:lnSpc>
              <a:buNone/>
              <a:tabLst/>
              <a:defRPr sz="4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quote. Lorem ipsum dolor sit amet, </a:t>
            </a:r>
            <a:r>
              <a:rPr lang="en-US" err="1"/>
              <a:t>consectetuer</a:t>
            </a:r>
            <a:r>
              <a:rPr lang="en-US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1008497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941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62425"/>
            <a:ext cx="4657724" cy="876632"/>
          </a:xfrm>
        </p:spPr>
        <p:txBody>
          <a:bodyPr/>
          <a:lstStyle>
            <a:lvl1pPr marL="9525" indent="-9525">
              <a:buFont typeface="System Font Regular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7A3446-F8E2-3146-BA41-1032A482FC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38301"/>
            <a:ext cx="6781799" cy="2343150"/>
          </a:xfrm>
        </p:spPr>
        <p:txBody>
          <a:bodyPr/>
          <a:lstStyle>
            <a:lvl1pPr marL="179388" indent="-179388">
              <a:lnSpc>
                <a:spcPct val="100000"/>
              </a:lnSpc>
              <a:buNone/>
              <a:tabLst/>
              <a:defRPr sz="4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quote. Lorem ipsum dolor sit amet, </a:t>
            </a:r>
            <a:r>
              <a:rPr lang="en-US" err="1"/>
              <a:t>consectetuer</a:t>
            </a:r>
            <a:r>
              <a:rPr lang="en-US"/>
              <a:t>.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B031E3-F81C-1243-BF01-61FFFCDD7542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6C3A00-852F-484A-97E9-46F8B77C499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117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988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3911"/>
            <a:ext cx="6199086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35404"/>
            <a:ext cx="5486400" cy="150799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A6277B-20C5-423E-B414-405623D3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8042"/>
            <a:ext cx="5486400" cy="928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E4E4144-041D-49AA-9014-C5418974F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0293" r="17591"/>
          <a:stretch/>
        </p:blipFill>
        <p:spPr>
          <a:xfrm>
            <a:off x="6604000" y="-8878"/>
            <a:ext cx="5588000" cy="54047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7ED1FBB-3271-334A-9467-2D6E9E69AB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5016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057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797642"/>
            <a:ext cx="7664448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09323"/>
            <a:ext cx="7664448" cy="128079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6F5AC9-E4C4-41AA-884C-9D65502644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399"/>
            <a:ext cx="4541838" cy="9737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2D02CAB-940A-4626-B0D3-2014CBC27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4896" r="34473" b="17572"/>
          <a:stretch/>
        </p:blipFill>
        <p:spPr>
          <a:xfrm>
            <a:off x="6494010" y="470725"/>
            <a:ext cx="4780631" cy="4926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44D3BF1-777D-EF49-8E9C-CBF5AE0C8A0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7603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35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7474"/>
            <a:ext cx="58007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6276" y="2819399"/>
            <a:ext cx="5162549" cy="1219447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C9C9E3-8423-44B8-A95F-6F1150185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711700" cy="758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73A5F40-EA22-4E5E-8551-CC19E1817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0791" b="10236"/>
          <a:stretch/>
        </p:blipFill>
        <p:spPr>
          <a:xfrm>
            <a:off x="5387975" y="-10119"/>
            <a:ext cx="6828585" cy="539269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316748D-279F-664B-9E63-17A3F759747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4179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466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9932"/>
            <a:ext cx="5852160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1612"/>
            <a:ext cx="5486399" cy="1052298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DB92A2-288E-4509-B168-B13B50C020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013200" cy="758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1449E5C-422E-48D1-BFD0-76D26E85F4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" t="21679" r="977"/>
          <a:stretch/>
        </p:blipFill>
        <p:spPr>
          <a:xfrm>
            <a:off x="5358662" y="-17755"/>
            <a:ext cx="6833338" cy="540474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59C9FE7-BDF8-544D-9C65-72E6E3A5DD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1952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800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9951"/>
            <a:ext cx="67532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1631"/>
            <a:ext cx="5486399" cy="1020442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F4D27-7681-462E-859E-C63E3CF05F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052888" cy="838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56AB389-6986-4D7F-B9B4-E616224F2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6145"/>
          <a:stretch/>
        </p:blipFill>
        <p:spPr>
          <a:xfrm>
            <a:off x="5601810" y="-682383"/>
            <a:ext cx="6476213" cy="60782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3F6586-BC95-174D-B641-82F4E58E5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093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197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797642"/>
            <a:ext cx="67532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5486399" cy="99551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27D77E-A6BB-438E-B0BB-318CCA9B0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849813" cy="758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EE69D27-BC45-4783-B1C4-FE8B207114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6842" r="10970" b="13899"/>
          <a:stretch/>
        </p:blipFill>
        <p:spPr>
          <a:xfrm>
            <a:off x="5129418" y="6620"/>
            <a:ext cx="7062582" cy="53892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AC1052-5426-1848-A915-1ECF5BE6A17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416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31240B-C517-4689-8CB1-BC5F4E914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8F355D-2F96-49F8-ABBA-2457A1953C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30B4B0-9F64-4110-B3FD-E8788B6002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4D68EE-9F7E-427F-9BFD-5E51308543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404DA12-BBFD-4EE7-AC6B-D14FCBE552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38AF28-E6BE-4663-9C87-6F9BF1DD1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39ACE8-1835-437D-A028-6D03CB91A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604010-C581-48E1-A6FB-D1166D246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9412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081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A4983B-2D18-4C45-8655-49D75E8E83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5486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EAE58D9-AEE9-D948-98A7-255E23E4A7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54864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63341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5544"/>
            <a:ext cx="5486400" cy="135316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508BD9-A70A-46DE-9B4F-2FCCA30C6F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6275" y="4343400"/>
            <a:ext cx="4437063" cy="828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B02C21-247E-9340-BC9C-6C97543EE7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4578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chart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8"/>
            <a:ext cx="10820400" cy="9667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85801" y="1554479"/>
            <a:ext cx="10820399" cy="4353937"/>
          </a:xfrm>
          <a:prstGeom prst="rect">
            <a:avLst/>
          </a:prstGeom>
          <a:noFill/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619944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2">
          <p15:clr>
            <a:srgbClr val="FBAE40"/>
          </p15:clr>
        </p15:guide>
        <p15:guide id="2" pos="5438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343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9089516" cy="201930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10839448" cy="1371599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805E39-2073-418B-A986-F392C9B3BE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6" y="4343400"/>
            <a:ext cx="5254625" cy="7048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0334991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8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9089516" cy="201930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10839448" cy="1371599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805E39-2073-418B-A986-F392C9B3BE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6" y="4343400"/>
            <a:ext cx="5254625" cy="704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CB8D2B-0080-194E-8F31-E630E9CA43B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96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EA2F1B1-9452-3B47-A410-6A92F8E7F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696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0">
          <p15:clr>
            <a:srgbClr val="FBAE40"/>
          </p15:clr>
        </p15:guide>
        <p15:guide id="2" pos="724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F5FC9D-25EF-E44C-9CF9-C110B8341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822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0">
          <p15:clr>
            <a:srgbClr val="FBAE40"/>
          </p15:clr>
        </p15:guide>
        <p15:guide id="2" pos="724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54480"/>
            <a:ext cx="10820400" cy="42337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5912A0-2096-8547-ACCA-E84C356C065B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2ECBA4B-6198-5D4F-A9C6-90701BABD07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179E91C-EA2A-EE4B-8F2E-F744CD71D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6655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095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">
          <p15:clr>
            <a:srgbClr val="FBAE40"/>
          </p15:clr>
        </p15:guide>
        <p15:guide id="2" orient="horz" pos="916">
          <p15:clr>
            <a:srgbClr val="FBAE40"/>
          </p15:clr>
        </p15:guide>
        <p15:guide id="3" orient="horz" pos="974">
          <p15:clr>
            <a:srgbClr val="FBAE40"/>
          </p15:clr>
        </p15:guide>
        <p15:guide id="4" orient="horz" pos="3792">
          <p15:clr>
            <a:srgbClr val="FBAE40"/>
          </p15:clr>
        </p15:guide>
        <p15:guide id="6" pos="430">
          <p15:clr>
            <a:srgbClr val="FBAE40"/>
          </p15:clr>
        </p15:guide>
        <p15:guide id="7" pos="7251">
          <p15:clr>
            <a:srgbClr val="FBAE40"/>
          </p15:clr>
        </p15:guide>
        <p15:guide id="8" orient="horz" pos="414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678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08020E-DEAF-844C-846B-6B06F69D7C6F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344967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30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4">
          <p15:clr>
            <a:srgbClr val="FBAE40"/>
          </p15:clr>
        </p15:guide>
        <p15:guide id="6" orient="horz" pos="916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930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9590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9590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08020E-DEAF-844C-846B-6B06F69D7C6F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801298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30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4">
          <p15:clr>
            <a:srgbClr val="FBAE40"/>
          </p15:clr>
        </p15:guide>
        <p15:guide id="6" orient="horz" pos="916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337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2488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24884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A49326E-611B-9141-A285-4871899E6BDD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4E733E-AB5F-8647-9DEF-DAF91768AC0F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04F0CD-F17C-C34F-AE2B-4564FE9177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290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28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4">
          <p15:clr>
            <a:srgbClr val="FBAE40"/>
          </p15:clr>
        </p15:guide>
        <p15:guide id="7" orient="horz" pos="974">
          <p15:clr>
            <a:srgbClr val="FBAE40"/>
          </p15:clr>
        </p15:guide>
        <p15:guide id="9" orient="horz" pos="3792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6A5FD-97FB-44AB-B97E-EF4446B49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C8F0D8-B735-4EBF-84FB-E623FF8C8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506850-6254-48EE-A0D4-101E5C0AB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37505-9A06-4818-AC77-6F4F3B4A5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5184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3344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07CEAC-2C27-A64B-A088-3F4F42ABFB3A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425990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814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07CEAC-2C27-A64B-A088-3F4F42ABFB3A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209774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61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BE34A8C-692E-584C-9ACB-8B9E24195584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6514E9-F46E-5546-BFFF-6C5403D2DB11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DCCAC0-DDDC-8E4F-BEBF-BD212ABCB1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213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8">
          <p15:clr>
            <a:srgbClr val="FBAE40"/>
          </p15:clr>
        </p15:guide>
        <p15:guide id="2" pos="2844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9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916">
          <p15:clr>
            <a:srgbClr val="FBAE40"/>
          </p15:clr>
        </p15:guide>
        <p15:guide id="8" orient="horz" pos="304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89">
          <p15:clr>
            <a:srgbClr val="FBAE40"/>
          </p15:clr>
        </p15:guide>
        <p15:guide id="12" orient="horz" pos="4145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61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79"/>
            <a:ext cx="3149600" cy="425151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79"/>
            <a:ext cx="6985000" cy="425151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5D95B0A-AFCF-8E47-8231-980049A3FF59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166811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8">
          <p15:clr>
            <a:srgbClr val="FBAE40"/>
          </p15:clr>
        </p15:guide>
        <p15:guide id="2" pos="2846">
          <p15:clr>
            <a:srgbClr val="FBAE40"/>
          </p15:clr>
        </p15:guide>
        <p15:guide id="3" pos="432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918">
          <p15:clr>
            <a:srgbClr val="FBAE40"/>
          </p15:clr>
        </p15:guide>
        <p15:guide id="6" orient="horz" pos="308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92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587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800" y="1554479"/>
            <a:ext cx="4657724" cy="4242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86167"/>
            <a:ext cx="4657725" cy="966701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AEBFDB-020C-BA45-BD44-18B5B63448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-1"/>
            <a:ext cx="6096000" cy="685799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81089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366">
          <p15:clr>
            <a:srgbClr val="FBAE40"/>
          </p15:clr>
        </p15:guide>
        <p15:guide id="3" pos="429">
          <p15:clr>
            <a:srgbClr val="FBAE40"/>
          </p15:clr>
        </p15:guide>
        <p15:guide id="4" orient="horz" pos="918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orient="horz" pos="974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936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B54EDF0-EE16-F249-BE06-487F678FF89B}"/>
              </a:ext>
            </a:extLst>
          </p:cNvPr>
          <p:cNvSpPr/>
          <p:nvPr/>
        </p:nvSpPr>
        <p:spPr>
          <a:xfrm>
            <a:off x="6457951" y="1554479"/>
            <a:ext cx="5048249" cy="42603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2A61A17-3CE4-794D-9056-719C8031E2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6039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457950" y="1554479"/>
            <a:ext cx="5048249" cy="426039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34E907-8ECD-A247-90F0-8089C11A74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455824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68">
          <p15:clr>
            <a:srgbClr val="FBAE40"/>
          </p15:clr>
        </p15:guide>
        <p15:guide id="2" pos="3612">
          <p15:clr>
            <a:srgbClr val="FBAE40"/>
          </p15:clr>
        </p15:guide>
        <p15:guide id="3" pos="429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orient="horz" pos="918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442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B54EDF0-EE16-F249-BE06-487F678FF89B}"/>
              </a:ext>
            </a:extLst>
          </p:cNvPr>
          <p:cNvSpPr/>
          <p:nvPr/>
        </p:nvSpPr>
        <p:spPr>
          <a:xfrm>
            <a:off x="685801" y="1554480"/>
            <a:ext cx="10820400" cy="42426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85800" y="1554479"/>
            <a:ext cx="10820400" cy="424263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17202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48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0563" y="1554479"/>
            <a:ext cx="10820400" cy="4283614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839315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B43944D-6D92-4F40-BFAA-5B27C8ABD3E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98307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305">
          <p15:clr>
            <a:srgbClr val="FBAE40"/>
          </p15:clr>
        </p15:guide>
        <p15:guide id="4" orient="horz" pos="918">
          <p15:clr>
            <a:srgbClr val="FBAE40"/>
          </p15:clr>
        </p15:guide>
        <p15:guide id="5" orient="horz" pos="3789">
          <p15:clr>
            <a:srgbClr val="FBAE40"/>
          </p15:clr>
        </p15:guide>
        <p15:guide id="7" orient="horz" pos="414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14AD9C5-6228-ED44-889E-6904764410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7CB764-653A-3D40-A383-E25B1CA34C60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C25B89-0A47-6847-B754-E3CA7837F7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51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1">
          <p15:clr>
            <a:srgbClr val="FBAE40"/>
          </p15:clr>
        </p15:guide>
        <p15:guide id="2" pos="429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3789">
          <p15:clr>
            <a:srgbClr val="FBAE40"/>
          </p15:clr>
        </p15:guide>
        <p15:guide id="7" orient="horz" pos="414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E9F857-3BEC-44CF-8729-BE76AD5CC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AB6741-09D5-464B-9CAF-BDFD1BC61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B82D1-7DEB-429F-9C37-5A0587CDD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632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49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06201F-83F0-4304-B1F9-B02CCDB0F90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136187" cy="1462087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331948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542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50DA8-42F8-45FD-9083-3FD9096304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734675" cy="165735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118143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449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C0B21A-34FD-434E-AD6A-6FD7FA899829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E1FCE1-4399-4142-8D1B-EC751D53CBD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664825" cy="146208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0BD4CA-9931-9E4E-BB70-EA84A5F4CE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9680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43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7BB59BB-CB13-104E-A23E-FC98C0B84C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B6C995-740F-9D43-90F7-B61814D2A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68580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26406746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120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7BB59BB-CB13-104E-A23E-FC98C0B84C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B6C995-740F-9D43-90F7-B61814D2A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68580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23986622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32652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544A32-2950-5840-B535-B41E4F58B9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20361" y="2383747"/>
            <a:ext cx="3943453" cy="14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7741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3F6D07F-A63F-E542-B09E-E79310F1A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90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3F6D07F-A63F-E542-B09E-E79310F1A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2434B36-8E71-9446-A1BC-5D5BF99F32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20362" y="2362297"/>
            <a:ext cx="3943452" cy="14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682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942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5B91738-4B95-2140-9C94-01849D0CBA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260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EE55E4-2AC4-1643-B946-18BF3435E2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A8A2AFC-14B9-4E44-807C-AA683A7D1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6468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041BBF7-1139-944E-BB1F-E4A521CA4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136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708A00-168A-1744-A1FD-95C224DF40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87803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82E5E583-0CCC-5749-A61E-8B68166D0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4774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73B3615F-7B7F-C049-A051-269B92BDA1E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86288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7BED6C5F-628A-634C-A1BE-5BCC177EAC2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87803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8E43F54-A4C7-E048-AEC6-C190217EF53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52638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pos="1968">
          <p15:clr>
            <a:srgbClr val="FBAE40"/>
          </p15:clr>
        </p15:guide>
        <p15:guide id="7" pos="2184">
          <p15:clr>
            <a:srgbClr val="FBAE40"/>
          </p15:clr>
        </p15:guide>
        <p15:guide id="8" pos="3720">
          <p15:clr>
            <a:srgbClr val="FBAE40"/>
          </p15:clr>
        </p15:guide>
        <p15:guide id="9" pos="3960">
          <p15:clr>
            <a:srgbClr val="FBAE40"/>
          </p15:clr>
        </p15:guide>
        <p15:guide id="10" pos="5472">
          <p15:clr>
            <a:srgbClr val="FBAE40"/>
          </p15:clr>
        </p15:guide>
        <p15:guide id="11" pos="5712">
          <p15:clr>
            <a:srgbClr val="FBAE40"/>
          </p15:clr>
        </p15:guide>
        <p15:guide id="12" orient="horz" pos="1663">
          <p15:clr>
            <a:srgbClr val="FBAE40"/>
          </p15:clr>
        </p15:guide>
        <p15:guide id="13" orient="horz" pos="1968">
          <p15:clr>
            <a:srgbClr val="FBAE40"/>
          </p15:clr>
        </p15:guide>
        <p15:guide id="15" orient="horz" pos="4145">
          <p15:clr>
            <a:srgbClr val="FBAE40"/>
          </p15:clr>
        </p15:guide>
        <p15:guide id="16" orient="horz" pos="37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84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1177A3D-4A3B-7947-AEC5-B449F32D17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D277856-EAAC-5045-8D25-579EF6B0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1708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AEEC403-2E22-7449-9722-70875FDAA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16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CFE25B-CB8D-2942-8363-87001A496E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C71ADF9-E7ED-A84F-A07E-475C447D3F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75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3C59C0B-0B99-8946-A964-B883A7CF6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1363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0435EC5-7AF3-ED45-A2D1-126EEFDB608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41547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  <p15:guide id="13" orient="horz" pos="196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6DF9A-CB4A-4AAE-82F9-250BC4CA4B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B63F5F-0F4D-4809-9306-9CC76A748E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515FAD-CA17-4184-ADBB-5B4C212A1B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7869A1-280B-460C-BE67-AE32B3E3B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517B93-6BE5-4D5E-AF86-236742A8B3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2B2CD6-B98F-4642-AD16-906D8C88C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0900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907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1177A3D-4A3B-7947-AEC5-B449F32D17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124201"/>
            <a:ext cx="3149600" cy="2726184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D277856-EAAC-5045-8D25-579EF6B0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1708" y="3124200"/>
            <a:ext cx="3149600" cy="27261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AEEC403-2E22-7449-9722-70875FDAA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16" y="3124200"/>
            <a:ext cx="3149600" cy="27261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CFE25B-CB8D-2942-8363-87001A496E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C71ADF9-E7ED-A84F-A07E-475C447D3F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75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3C59C0B-0B99-8946-A964-B883A7CF6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1363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0435EC5-7AF3-ED45-A2D1-126EEFDB608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735239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  <p15:guide id="13" orient="horz" pos="196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atistics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E98416-ED3F-DA4E-8DAD-172FB9B1A3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604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E98416-ED3F-DA4E-8DAD-172FB9B1A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BA4B35-07F1-924E-A4FB-E9D9F6765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5A373B-F92F-AD4D-ACB1-2A44B9F696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5625" y="1752600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F6735D1-DD43-874F-A02D-C8C48903BB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1552576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7C01DEE-14A2-DE44-98D6-0BFE7F615D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95625" y="3876675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0A6BDAC-0412-8943-B027-07A2B58B9C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3676651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3080F4-ADD6-8B4C-900B-D999C52FCE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34451" y="1752600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84C6C70-4A44-1042-BE56-7AADBDA24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4626" y="1552576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5C41753-5911-7E4B-961D-22FADC3D56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34451" y="3876675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00562E4-0171-C74A-AC57-85230A0231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4626" y="3676651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71F6816-DFC3-AB4A-B1D5-6204CF5FE92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910776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pos="4100">
          <p15:clr>
            <a:srgbClr val="FBAE40"/>
          </p15:clr>
        </p15:guide>
        <p15:guide id="4" pos="3575">
          <p15:clr>
            <a:srgbClr val="FBAE40"/>
          </p15:clr>
        </p15:guide>
        <p15:guide id="5" orient="horz" pos="4152">
          <p15:clr>
            <a:srgbClr val="FBAE40"/>
          </p15:clr>
        </p15:guide>
        <p15:guide id="6" orient="horz" pos="307">
          <p15:clr>
            <a:srgbClr val="FBAE40"/>
          </p15:clr>
        </p15:guide>
        <p15:guide id="7" orient="horz" pos="91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51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62425"/>
            <a:ext cx="4657724" cy="876632"/>
          </a:xfrm>
        </p:spPr>
        <p:txBody>
          <a:bodyPr/>
          <a:lstStyle>
            <a:lvl1pPr marL="9525" indent="0">
              <a:buFont typeface="System Font Regular"/>
              <a:buNone/>
              <a:tabLst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7A3446-F8E2-3146-BA41-1032A482FC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38301"/>
            <a:ext cx="6781799" cy="2343150"/>
          </a:xfrm>
        </p:spPr>
        <p:txBody>
          <a:bodyPr/>
          <a:lstStyle>
            <a:lvl1pPr marL="179388" indent="-179388">
              <a:lnSpc>
                <a:spcPct val="100000"/>
              </a:lnSpc>
              <a:buNone/>
              <a:tabLst/>
              <a:defRPr sz="4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quote. Lorem ipsum dolor sit amet, </a:t>
            </a:r>
            <a:r>
              <a:rPr lang="en-US" err="1"/>
              <a:t>consectetuer</a:t>
            </a:r>
            <a:r>
              <a:rPr lang="en-US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28520212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941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62425"/>
            <a:ext cx="4657724" cy="876632"/>
          </a:xfrm>
        </p:spPr>
        <p:txBody>
          <a:bodyPr/>
          <a:lstStyle>
            <a:lvl1pPr marL="9525" indent="-9525">
              <a:buFont typeface="System Font Regular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7A3446-F8E2-3146-BA41-1032A482FC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38301"/>
            <a:ext cx="6781799" cy="2343150"/>
          </a:xfrm>
        </p:spPr>
        <p:txBody>
          <a:bodyPr/>
          <a:lstStyle>
            <a:lvl1pPr marL="179388" indent="-179388">
              <a:lnSpc>
                <a:spcPct val="100000"/>
              </a:lnSpc>
              <a:buNone/>
              <a:tabLst/>
              <a:defRPr sz="4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quote. Lorem ipsum dolor sit amet, </a:t>
            </a:r>
            <a:r>
              <a:rPr lang="en-US" err="1"/>
              <a:t>consectetuer</a:t>
            </a:r>
            <a:r>
              <a:rPr lang="en-US"/>
              <a:t>.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B031E3-F81C-1243-BF01-61FFFCDD7542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6C3A00-852F-484A-97E9-46F8B77C499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8341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988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3911"/>
            <a:ext cx="6199086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35404"/>
            <a:ext cx="5486400" cy="150799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A6277B-20C5-423E-B414-405623D3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8042"/>
            <a:ext cx="5486400" cy="928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E4E4144-041D-49AA-9014-C5418974F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0293" r="17591"/>
          <a:stretch/>
        </p:blipFill>
        <p:spPr>
          <a:xfrm>
            <a:off x="6604000" y="-8878"/>
            <a:ext cx="5588000" cy="54047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7ED1FBB-3271-334A-9467-2D6E9E69AB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150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057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797642"/>
            <a:ext cx="7664448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09323"/>
            <a:ext cx="7664448" cy="128079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6F5AC9-E4C4-41AA-884C-9D65502644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399"/>
            <a:ext cx="4541838" cy="9737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2D02CAB-940A-4626-B0D3-2014CBC27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4896" r="34473" b="17572"/>
          <a:stretch/>
        </p:blipFill>
        <p:spPr>
          <a:xfrm>
            <a:off x="6494010" y="470725"/>
            <a:ext cx="4780631" cy="4926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44D3BF1-777D-EF49-8E9C-CBF5AE0C8A0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6377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35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7474"/>
            <a:ext cx="58007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6276" y="2819399"/>
            <a:ext cx="5162549" cy="1219447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C9C9E3-8423-44B8-A95F-6F1150185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711700" cy="758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73A5F40-EA22-4E5E-8551-CC19E1817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0791" b="10236"/>
          <a:stretch/>
        </p:blipFill>
        <p:spPr>
          <a:xfrm>
            <a:off x="5387975" y="-10119"/>
            <a:ext cx="6828585" cy="539269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316748D-279F-664B-9E63-17A3F759747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24069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466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9932"/>
            <a:ext cx="5852160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1612"/>
            <a:ext cx="5486399" cy="1052298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DB92A2-288E-4509-B168-B13B50C020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013200" cy="758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1449E5C-422E-48D1-BFD0-76D26E85F4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" t="21679" r="977"/>
          <a:stretch/>
        </p:blipFill>
        <p:spPr>
          <a:xfrm>
            <a:off x="5358662" y="-17755"/>
            <a:ext cx="6833338" cy="540474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59C9FE7-BDF8-544D-9C65-72E6E3A5DD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9763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800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9951"/>
            <a:ext cx="67532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1631"/>
            <a:ext cx="5486399" cy="1020442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F4D27-7681-462E-859E-C63E3CF05F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052888" cy="838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56AB389-6986-4D7F-B9B4-E616224F2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6145"/>
          <a:stretch/>
        </p:blipFill>
        <p:spPr>
          <a:xfrm>
            <a:off x="5601810" y="-682383"/>
            <a:ext cx="6476213" cy="60782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3F6586-BC95-174D-B641-82F4E58E5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062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197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797642"/>
            <a:ext cx="67532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5486399" cy="99551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27D77E-A6BB-438E-B0BB-318CCA9B0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849813" cy="758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EE69D27-BC45-4783-B1C4-FE8B207114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6842" r="10970" b="13899"/>
          <a:stretch/>
        </p:blipFill>
        <p:spPr>
          <a:xfrm>
            <a:off x="5129418" y="6620"/>
            <a:ext cx="7062582" cy="53892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AC1052-5426-1848-A915-1ECF5BE6A17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700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B754AE-2098-43DB-9924-7682436FE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3739DC0-166C-4702-88F7-6353A0297DF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87245C-393E-4B07-83BB-C109EE3EF5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F24E9E-D2D9-4FD5-806A-98E08F83F7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0FDF37-5469-4C73-B6EC-9CA1A55B8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67E9BC-46DF-44D3-B716-EB7FB03D4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27911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081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A4983B-2D18-4C45-8655-49D75E8E83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5486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EAE58D9-AEE9-D948-98A7-255E23E4A7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54864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63341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5544"/>
            <a:ext cx="5486400" cy="135316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508BD9-A70A-46DE-9B4F-2FCCA30C6F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6275" y="4343400"/>
            <a:ext cx="4437063" cy="828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B02C21-247E-9340-BC9C-6C97543EE7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3548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chart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8"/>
            <a:ext cx="10820400" cy="9667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85801" y="1554479"/>
            <a:ext cx="10820399" cy="4353937"/>
          </a:xfrm>
          <a:prstGeom prst="rect">
            <a:avLst/>
          </a:prstGeom>
          <a:noFill/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715507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2">
          <p15:clr>
            <a:srgbClr val="FBAE40"/>
          </p15:clr>
        </p15:guide>
        <p15:guide id="2" pos="5438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light blue, orange text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20748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9341" y="1411288"/>
            <a:ext cx="7315200" cy="1835347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5400" b="0" cap="none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0E346F-8359-4C65-9556-013A26CEC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401" y="3246438"/>
            <a:ext cx="10839449" cy="183515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84163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_Orang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8"/>
            <a:ext cx="10820400" cy="9667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4324" y="1554484"/>
            <a:ext cx="10820400" cy="43355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4058890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3">
          <p15:clr>
            <a:srgbClr val="FBAE40"/>
          </p15:clr>
        </p15:guide>
        <p15:guide id="2" pos="5436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31.xml"/><Relationship Id="rId4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9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72.xml"/><Relationship Id="rId34" Type="http://schemas.openxmlformats.org/officeDocument/2006/relationships/slideLayout" Target="../slideLayouts/slideLayout85.xml"/><Relationship Id="rId42" Type="http://schemas.openxmlformats.org/officeDocument/2006/relationships/slideLayout" Target="../slideLayouts/slideLayout93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80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slideLayout" Target="../slideLayouts/slideLayout83.xml"/><Relationship Id="rId37" Type="http://schemas.openxmlformats.org/officeDocument/2006/relationships/slideLayout" Target="../slideLayouts/slideLayout88.xml"/><Relationship Id="rId40" Type="http://schemas.openxmlformats.org/officeDocument/2006/relationships/slideLayout" Target="../slideLayouts/slideLayout91.xml"/><Relationship Id="rId45" Type="http://schemas.openxmlformats.org/officeDocument/2006/relationships/tags" Target="../tags/tag38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slideLayout" Target="../slideLayouts/slideLayout79.xml"/><Relationship Id="rId36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82.xml"/><Relationship Id="rId44" Type="http://schemas.openxmlformats.org/officeDocument/2006/relationships/tags" Target="../tags/tag37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slideLayout" Target="../slideLayouts/slideLayout81.xml"/><Relationship Id="rId35" Type="http://schemas.openxmlformats.org/officeDocument/2006/relationships/slideLayout" Target="../slideLayouts/slideLayout86.xml"/><Relationship Id="rId43" Type="http://schemas.openxmlformats.org/officeDocument/2006/relationships/theme" Target="../theme/theme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slideLayout" Target="../slideLayouts/slideLayout84.xml"/><Relationship Id="rId38" Type="http://schemas.openxmlformats.org/officeDocument/2006/relationships/slideLayout" Target="../slideLayouts/slideLayout89.xml"/><Relationship Id="rId46" Type="http://schemas.openxmlformats.org/officeDocument/2006/relationships/oleObject" Target="../embeddings/oleObject35.bin"/><Relationship Id="rId20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F6FEB50-8072-4842-B80C-B96EDF2DB0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5FA158-6CA5-4A6C-A594-C19313D31C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2D3B82-BA6B-4DD5-B60A-C0854FC0E0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336308-5BBE-4206-A168-FB928A355846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9540F6-5DD3-4B92-A7F8-001BDE1EEA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9B76D-8C02-4E45-91D8-90C1066F6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23DB9D-FAD4-48E5-9E0B-C14235DEC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889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05AB5C1-C09C-4A45-BA68-B59DF3B48E34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95268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7772400" imgH="10058400" progId="TCLayout.ActiveDocument.1">
                  <p:embed/>
                </p:oleObj>
              </mc:Choice>
              <mc:Fallback>
                <p:oleObj name="think-cell Slide" r:id="rId4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05AB5C1-C09C-4A45-BA68-B59DF3B48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CCA3344-B815-AB4E-9159-EF28A5D04D52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0" i="0" baseline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54481"/>
            <a:ext cx="10820400" cy="42603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02684D-55E1-A14B-A284-921FEE3CD45A}"/>
              </a:ext>
            </a:extLst>
          </p:cNvPr>
          <p:cNvSpPr txBox="1"/>
          <p:nvPr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00682A-6378-764D-85DE-3507FC05C8B0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685800" y="6089238"/>
            <a:ext cx="1423325" cy="5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058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10000"/>
        </a:lnSpc>
        <a:spcBef>
          <a:spcPts val="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50" indent="-227013" algn="l" defTabSz="4572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60375" indent="-225425" algn="l" defTabSz="457200" rtl="0" eaLnBrk="1" latinLnBrk="0" hangingPunct="1">
        <a:lnSpc>
          <a:spcPct val="110000"/>
        </a:lnSpc>
        <a:spcBef>
          <a:spcPts val="0"/>
        </a:spcBef>
        <a:buFont typeface="System Font Regular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5425" algn="l" defTabSz="4572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20750" indent="-234950" algn="l" defTabSz="457200" rtl="0" eaLnBrk="1" latinLnBrk="0" hangingPunct="1">
        <a:lnSpc>
          <a:spcPct val="110000"/>
        </a:lnSpc>
        <a:spcBef>
          <a:spcPts val="0"/>
        </a:spcBef>
        <a:buFont typeface="System Font Regular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04">
          <p15:clr>
            <a:srgbClr val="F26B43"/>
          </p15:clr>
        </p15:guide>
        <p15:guide id="4" orient="horz" pos="1776">
          <p15:clr>
            <a:srgbClr val="F26B43"/>
          </p15:clr>
        </p15:guide>
        <p15:guide id="5" orient="horz" pos="27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05AB5C1-C09C-4A45-BA68-B59DF3B48E34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95268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7772400" imgH="10058400" progId="TCLayout.ActiveDocument.1">
                  <p:embed/>
                </p:oleObj>
              </mc:Choice>
              <mc:Fallback>
                <p:oleObj name="think-cell Slide" r:id="rId46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05AB5C1-C09C-4A45-BA68-B59DF3B48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CCA3344-B815-AB4E-9159-EF28A5D04D52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0" i="0" baseline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54481"/>
            <a:ext cx="10820400" cy="42603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02684D-55E1-A14B-A284-921FEE3CD45A}"/>
              </a:ext>
            </a:extLst>
          </p:cNvPr>
          <p:cNvSpPr txBox="1"/>
          <p:nvPr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00682A-6378-764D-85DE-3507FC05C8B0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685800" y="6089238"/>
            <a:ext cx="1423325" cy="5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082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10000"/>
        </a:lnSpc>
        <a:spcBef>
          <a:spcPts val="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50" indent="-227013" algn="l" defTabSz="4572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60375" indent="-225425" algn="l" defTabSz="457200" rtl="0" eaLnBrk="1" latinLnBrk="0" hangingPunct="1">
        <a:lnSpc>
          <a:spcPct val="110000"/>
        </a:lnSpc>
        <a:spcBef>
          <a:spcPts val="0"/>
        </a:spcBef>
        <a:buFont typeface="System Font Regular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5425" algn="l" defTabSz="4572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20750" indent="-234950" algn="l" defTabSz="457200" rtl="0" eaLnBrk="1" latinLnBrk="0" hangingPunct="1">
        <a:lnSpc>
          <a:spcPct val="110000"/>
        </a:lnSpc>
        <a:spcBef>
          <a:spcPts val="0"/>
        </a:spcBef>
        <a:buFont typeface="System Font Regular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04">
          <p15:clr>
            <a:srgbClr val="F26B43"/>
          </p15:clr>
        </p15:guide>
        <p15:guide id="4" orient="horz" pos="1776">
          <p15:clr>
            <a:srgbClr val="F26B43"/>
          </p15:clr>
        </p15:guide>
        <p15:guide id="5" orient="horz" pos="27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6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7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8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25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9.bin"/><Relationship Id="rId10" Type="http://schemas.openxmlformats.org/officeDocument/2006/relationships/chart" Target="../charts/chart10.xml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1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80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1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7" Type="http://schemas.openxmlformats.org/officeDocument/2006/relationships/chart" Target="../charts/chart5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1CD307-21CA-F943-BF38-5D987122B4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1CD307-21CA-F943-BF38-5D987122B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78954E-6BBE-FA4F-B59A-75966C03D0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6275" y="612396"/>
            <a:ext cx="6152363" cy="2209216"/>
          </a:xfrm>
        </p:spPr>
        <p:txBody>
          <a:bodyPr/>
          <a:lstStyle/>
          <a:p>
            <a:r>
              <a:rPr lang="en-US" sz="4000" dirty="0"/>
              <a:t>Consumers Experiences with and Attitudes toward Receiving Health Screenings at Dental Visi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03D06A-8890-4727-8270-B7C0B98FFE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6276" y="4932343"/>
            <a:ext cx="11426964" cy="758825"/>
          </a:xfrm>
        </p:spPr>
        <p:txBody>
          <a:bodyPr/>
          <a:lstStyle/>
          <a:p>
            <a:r>
              <a:rPr lang="en-US" dirty="0"/>
              <a:t>APHA, November 8, 2022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E91F57-B61A-4A56-862E-C04D95FD1ABA}"/>
              </a:ext>
            </a:extLst>
          </p:cNvPr>
          <p:cNvSpPr txBox="1"/>
          <p:nvPr/>
        </p:nvSpPr>
        <p:spPr>
          <a:xfrm>
            <a:off x="3175819" y="5761703"/>
            <a:ext cx="8927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rianna Sonnek, MPH, Lisa J. Heaton, PhD,  Madhuli Thakkar-Samtani, BDS, MPH, Christine Kanan, BS, Eric P. Tranby, PhD</a:t>
            </a:r>
          </a:p>
        </p:txBody>
      </p:sp>
    </p:spTree>
    <p:extLst>
      <p:ext uri="{BB962C8B-B14F-4D97-AF65-F5344CB8AC3E}">
        <p14:creationId xmlns:p14="http://schemas.microsoft.com/office/powerpoint/2010/main" val="1841668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37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A1C1BF0-DEC8-443A-862B-CAAEB758C746}"/>
              </a:ext>
            </a:extLst>
          </p:cNvPr>
          <p:cNvSpPr txBox="1">
            <a:spLocks/>
          </p:cNvSpPr>
          <p:nvPr/>
        </p:nvSpPr>
        <p:spPr>
          <a:xfrm>
            <a:off x="689750" y="1023663"/>
            <a:ext cx="1045083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How often has your primar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oral health provider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sked about you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overall heal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?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F7330C4-91B6-4A9D-87BE-21185B78EB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8397201"/>
              </p:ext>
            </p:extLst>
          </p:nvPr>
        </p:nvGraphicFramePr>
        <p:xfrm>
          <a:off x="460346" y="1363211"/>
          <a:ext cx="11271308" cy="4899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5">
            <a:extLst>
              <a:ext uri="{FF2B5EF4-FFF2-40B4-BE49-F238E27FC236}">
                <a16:creationId xmlns:a16="http://schemas.microsoft.com/office/drawing/2014/main" id="{D3BB3BCB-4951-4771-A918-C02D9AFDA100}"/>
              </a:ext>
            </a:extLst>
          </p:cNvPr>
          <p:cNvSpPr txBox="1">
            <a:spLocks/>
          </p:cNvSpPr>
          <p:nvPr/>
        </p:nvSpPr>
        <p:spPr>
          <a:xfrm>
            <a:off x="381000" y="255336"/>
            <a:ext cx="1082040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0" i="0" u="none" strike="noStrike" kern="1200" cap="none" spc="0" normalizeH="0" baseline="0" noProof="0" dirty="0">
                <a:ln>
                  <a:noFill/>
                </a:ln>
                <a:solidFill>
                  <a:srgbClr val="2C378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onsumers report current lack of collaboration</a:t>
            </a:r>
          </a:p>
        </p:txBody>
      </p:sp>
    </p:spTree>
    <p:extLst>
      <p:ext uri="{BB962C8B-B14F-4D97-AF65-F5344CB8AC3E}">
        <p14:creationId xmlns:p14="http://schemas.microsoft.com/office/powerpoint/2010/main" val="3068989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37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Health screenings in dental offices are an underutilized opportunity for preventive care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8617852"/>
              </p:ext>
            </p:extLst>
          </p:nvPr>
        </p:nvGraphicFramePr>
        <p:xfrm>
          <a:off x="196645" y="577049"/>
          <a:ext cx="11406470" cy="5788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602807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809E61B-7E4B-4428-BF79-A39F5AFF90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9893324"/>
              </p:ext>
            </p:extLst>
          </p:nvPr>
        </p:nvGraphicFramePr>
        <p:xfrm>
          <a:off x="501445" y="727587"/>
          <a:ext cx="11395588" cy="6255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D163346-BDC8-47BF-8A96-85A53B7A1C25}"/>
              </a:ext>
            </a:extLst>
          </p:cNvPr>
          <p:cNvSpPr txBox="1">
            <a:spLocks/>
          </p:cNvSpPr>
          <p:nvPr/>
        </p:nvSpPr>
        <p:spPr>
          <a:xfrm>
            <a:off x="194187" y="136776"/>
            <a:ext cx="11702845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iffering yet still low levels of screening seen in childre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7C9C8F-2021-4B5B-A777-1E1BEC560140}"/>
              </a:ext>
            </a:extLst>
          </p:cNvPr>
          <p:cNvSpPr txBox="1"/>
          <p:nvPr/>
        </p:nvSpPr>
        <p:spPr>
          <a:xfrm>
            <a:off x="7230359" y="6136849"/>
            <a:ext cx="48170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=1657 (respondents with children)</a:t>
            </a:r>
          </a:p>
        </p:txBody>
      </p:sp>
    </p:spTree>
    <p:extLst>
      <p:ext uri="{BB962C8B-B14F-4D97-AF65-F5344CB8AC3E}">
        <p14:creationId xmlns:p14="http://schemas.microsoft.com/office/powerpoint/2010/main" val="3623228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654BA3C-9042-4672-975B-9960EFDBEFED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Dental Offices are also an untapped resource for vaccine distrib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136CF8-2B71-477C-9282-ECC97AD9AF97}"/>
              </a:ext>
            </a:extLst>
          </p:cNvPr>
          <p:cNvSpPr txBox="1"/>
          <p:nvPr/>
        </p:nvSpPr>
        <p:spPr>
          <a:xfrm>
            <a:off x="7022874" y="4701559"/>
            <a:ext cx="44201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Nearly a third of adults (31%) </a:t>
            </a:r>
          </a:p>
          <a:p>
            <a:r>
              <a:rPr lang="en-US" dirty="0">
                <a:solidFill>
                  <a:schemeClr val="tx2"/>
                </a:solidFill>
              </a:rPr>
              <a:t>report that they would consider receiving a flu vaccine from their dentis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3B31EA-DC2A-4A59-827B-59189640A0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3481" y="1175443"/>
            <a:ext cx="2886075" cy="2695575"/>
          </a:xfrm>
          <a:prstGeom prst="rect">
            <a:avLst/>
          </a:prstGeom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BF7D4ACF-DB1B-4863-A406-01C54718D6D6}"/>
              </a:ext>
            </a:extLst>
          </p:cNvPr>
          <p:cNvGraphicFramePr/>
          <p:nvPr/>
        </p:nvGraphicFramePr>
        <p:xfrm>
          <a:off x="5489679" y="618833"/>
          <a:ext cx="6702321" cy="4363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45880A55-2F8C-418F-AB57-DEDEDD47EA5B}"/>
              </a:ext>
            </a:extLst>
          </p:cNvPr>
          <p:cNvSpPr txBox="1"/>
          <p:nvPr/>
        </p:nvSpPr>
        <p:spPr>
          <a:xfrm>
            <a:off x="1720845" y="4701559"/>
            <a:ext cx="415968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More than a third of adults (34%) </a:t>
            </a:r>
            <a:r>
              <a:rPr lang="en-US" dirty="0">
                <a:solidFill>
                  <a:schemeClr val="tx2"/>
                </a:solidFill>
              </a:rPr>
              <a:t>report that they would be comfortable receiving a COVID-19 vaccine or booster from a dentis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00CFFA-52C0-44AB-8F83-933486B703E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57946" y="1254793"/>
            <a:ext cx="2683091" cy="2805050"/>
          </a:xfrm>
          <a:prstGeom prst="rect">
            <a:avLst/>
          </a:prstGeom>
        </p:spPr>
      </p:pic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C048644-E2C0-41FB-95A6-3F9C9BB6A774}"/>
              </a:ext>
            </a:extLst>
          </p:cNvPr>
          <p:cNvGraphicFramePr/>
          <p:nvPr/>
        </p:nvGraphicFramePr>
        <p:xfrm>
          <a:off x="258599" y="610201"/>
          <a:ext cx="6702321" cy="4363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147991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654BA3C-9042-4672-975B-9960EFDBEFED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57" y="357121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Of those would reported </a:t>
            </a:r>
            <a:r>
              <a:rPr lang="en-US" sz="2400" b="1" dirty="0"/>
              <a:t>rarely</a:t>
            </a:r>
            <a:r>
              <a:rPr lang="en-US" sz="2400" dirty="0"/>
              <a:t> or </a:t>
            </a:r>
            <a:r>
              <a:rPr lang="en-US" sz="2400" b="1" dirty="0"/>
              <a:t>never</a:t>
            </a:r>
            <a:r>
              <a:rPr lang="en-US" sz="2400" dirty="0"/>
              <a:t> receiving flu vaccines:</a:t>
            </a:r>
            <a:br>
              <a:rPr lang="en-US" sz="2400" dirty="0"/>
            </a:br>
            <a:endParaRPr lang="en-US" sz="24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1721ADF-E016-45D1-B63C-C457477AD4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9545507"/>
              </p:ext>
            </p:extLst>
          </p:nvPr>
        </p:nvGraphicFramePr>
        <p:xfrm>
          <a:off x="1762812" y="923828"/>
          <a:ext cx="8611573" cy="5242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2E72F9CE-1FB0-4CC1-B756-413D43330425}"/>
              </a:ext>
            </a:extLst>
          </p:cNvPr>
          <p:cNvSpPr txBox="1">
            <a:spLocks/>
          </p:cNvSpPr>
          <p:nvPr/>
        </p:nvSpPr>
        <p:spPr>
          <a:xfrm>
            <a:off x="130657" y="283943"/>
            <a:ext cx="1179871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56554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654BA3C-9042-4672-975B-9960EFDBEFED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57" y="357121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Of those would reported </a:t>
            </a:r>
            <a:r>
              <a:rPr lang="en-US" sz="2400" b="1" dirty="0"/>
              <a:t>never </a:t>
            </a:r>
            <a:r>
              <a:rPr lang="en-US" sz="2400" dirty="0"/>
              <a:t>receiving a COVID-19 Vaccine:</a:t>
            </a:r>
            <a:br>
              <a:rPr lang="en-US" sz="2400" dirty="0"/>
            </a:br>
            <a:endParaRPr lang="en-US" sz="24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1721ADF-E016-45D1-B63C-C457477AD4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0822306"/>
              </p:ext>
            </p:extLst>
          </p:nvPr>
        </p:nvGraphicFramePr>
        <p:xfrm>
          <a:off x="1762812" y="923828"/>
          <a:ext cx="8611573" cy="5242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2E72F9CE-1FB0-4CC1-B756-413D43330425}"/>
              </a:ext>
            </a:extLst>
          </p:cNvPr>
          <p:cNvSpPr txBox="1">
            <a:spLocks/>
          </p:cNvSpPr>
          <p:nvPr/>
        </p:nvSpPr>
        <p:spPr>
          <a:xfrm>
            <a:off x="130657" y="283943"/>
            <a:ext cx="1179871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17466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7622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2A7EB3D-7254-415B-99F9-D786A607CF66}"/>
              </a:ext>
            </a:extLst>
          </p:cNvPr>
          <p:cNvSpPr txBox="1">
            <a:spLocks/>
          </p:cNvSpPr>
          <p:nvPr/>
        </p:nvSpPr>
        <p:spPr>
          <a:xfrm>
            <a:off x="867154" y="447720"/>
            <a:ext cx="10457689" cy="9274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70C0"/>
            </a:solidFill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u="none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dirty="0"/>
              <a:t>Disclosur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E82047-7CA0-4DF7-85D7-8573E7BA2EB4}"/>
              </a:ext>
            </a:extLst>
          </p:cNvPr>
          <p:cNvSpPr txBox="1"/>
          <p:nvPr/>
        </p:nvSpPr>
        <p:spPr>
          <a:xfrm>
            <a:off x="867154" y="1468435"/>
            <a:ext cx="10457689" cy="19236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prstClr val="black"/>
                </a:solidFill>
                <a:latin typeface="Arial"/>
              </a:rPr>
              <a:t>[Adrianna Sonnek, </a:t>
            </a:r>
            <a:r>
              <a:rPr lang="en-US" sz="2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sa Heaton, Madhuli Thakkar-Samtani, Christine Kanan, Eric Tranby</a:t>
            </a:r>
            <a:r>
              <a:rPr lang="en-US" sz="2800" dirty="0">
                <a:solidFill>
                  <a:prstClr val="black"/>
                </a:solidFill>
                <a:latin typeface="Arial"/>
              </a:rPr>
              <a:t>]</a:t>
            </a:r>
          </a:p>
          <a:p>
            <a:endParaRPr lang="en-US" sz="2100" dirty="0">
              <a:solidFill>
                <a:prstClr val="black"/>
              </a:solidFill>
              <a:latin typeface="Arial"/>
            </a:endParaRPr>
          </a:p>
          <a:p>
            <a:r>
              <a:rPr lang="en-US" sz="2100" i="1" dirty="0">
                <a:solidFill>
                  <a:prstClr val="black"/>
                </a:solidFill>
                <a:latin typeface="Arial"/>
              </a:rPr>
              <a:t>Financial Disclosure: Speakers do not have any relevant financial relationships to disclos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46A0C7-2811-4FDF-9480-F1F69E268CF2}"/>
              </a:ext>
            </a:extLst>
          </p:cNvPr>
          <p:cNvSpPr txBox="1"/>
          <p:nvPr/>
        </p:nvSpPr>
        <p:spPr>
          <a:xfrm>
            <a:off x="867154" y="5209951"/>
            <a:ext cx="10457689" cy="12003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Arial"/>
              </a:rPr>
              <a:t>The NC Oral Health Section Continuing Education Program is responsible for ensuring the content, quality, and scientific integrity of all continuing education activities.</a:t>
            </a:r>
          </a:p>
          <a:p>
            <a:endParaRPr lang="en-US" dirty="0">
              <a:solidFill>
                <a:prstClr val="black"/>
              </a:solidFill>
              <a:latin typeface="Arial"/>
            </a:endParaRPr>
          </a:p>
          <a:p>
            <a:r>
              <a:rPr lang="en-US" dirty="0">
                <a:solidFill>
                  <a:prstClr val="black"/>
                </a:solidFill>
                <a:latin typeface="Arial"/>
              </a:rPr>
              <a:t>No commercial support has been received for this continuing education activity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5963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73727-4150-42DB-8E39-29BCF91E2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EDF458-3C2E-4381-A5B5-DA23F734DB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77850" lvl="1" indent="-342900"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cuss differences in adults’ comfort and experiences with dental providers doing routine health screenings.</a:t>
            </a:r>
            <a:r>
              <a:rPr lang="en-US" sz="2800" dirty="0"/>
              <a:t> </a:t>
            </a:r>
          </a:p>
          <a:p>
            <a:pPr marL="577850" lvl="1" indent="-342900"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cribe the various health screenings that adults are comfortable with dentists providing in the dental setting.</a:t>
            </a:r>
          </a:p>
          <a:p>
            <a:pPr marL="577850" lvl="1" indent="-342900">
              <a:buAutoNum type="arabicPeriod"/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cuss the importance of dental providers doing routing health screenings, particularly in the absence of regular medical care. </a:t>
            </a:r>
            <a:endParaRPr lang="en-US" sz="2800" dirty="0"/>
          </a:p>
          <a:p>
            <a:pPr marL="457200" indent="-457200">
              <a:buAutoNum type="arabicPeriod" startAt="2"/>
            </a:pPr>
            <a:endParaRPr lang="en-US" dirty="0"/>
          </a:p>
          <a:p>
            <a:pPr marL="457200" indent="-457200">
              <a:buAutoNum type="arabicPeriod" startAt="2"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9E3C40-1352-471C-8F24-9F4E3813D5BE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5249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500C25-A883-BE4D-BD87-DA6A40A09B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500C25-A883-BE4D-BD87-DA6A40A09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2668FB-0A97-4649-A3B4-150822C074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A42BEB-8A33-9B47-9357-5E125376C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84832"/>
            <a:ext cx="10820400" cy="966701"/>
          </a:xfrm>
        </p:spPr>
        <p:txBody>
          <a:bodyPr/>
          <a:lstStyle/>
          <a:p>
            <a:r>
              <a:rPr lang="en-US" dirty="0"/>
              <a:t>State of Oral Health Equity in America (SOHEA) Surve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EC832C-694E-914F-A829-172236CFE0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903086"/>
            <a:ext cx="10820400" cy="5051827"/>
          </a:xfrm>
        </p:spPr>
        <p:txBody>
          <a:bodyPr/>
          <a:lstStyle/>
          <a:p>
            <a:r>
              <a:rPr lang="en-US" sz="2400" dirty="0"/>
              <a:t>The SOHEA survey is a nationally representative, probability-based survey of adult consumer attitudes, experiences, and behaviors on oral health.</a:t>
            </a:r>
          </a:p>
          <a:p>
            <a:pPr lvl="1"/>
            <a:r>
              <a:rPr lang="en-US" sz="2400" dirty="0"/>
              <a:t>Data was collected by the National Opinion Research Center (NORC) in two rounds, collected from January to February of both </a:t>
            </a:r>
            <a:r>
              <a:rPr lang="en-US" sz="2400" b="1" dirty="0"/>
              <a:t>2021 </a:t>
            </a:r>
            <a:r>
              <a:rPr lang="en-US" sz="2400" dirty="0"/>
              <a:t>and</a:t>
            </a:r>
            <a:r>
              <a:rPr lang="en-US" sz="2400" b="1" dirty="0"/>
              <a:t> 2022</a:t>
            </a:r>
          </a:p>
          <a:p>
            <a:pPr lvl="1"/>
            <a:r>
              <a:rPr lang="en-US" dirty="0"/>
              <a:t>Survey was conducted online and  by telephone through NORC’s </a:t>
            </a:r>
            <a:r>
              <a:rPr lang="en-US" dirty="0" err="1"/>
              <a:t>AmeriSpeak</a:t>
            </a:r>
            <a:r>
              <a:rPr lang="en-US" dirty="0"/>
              <a:t>® Panel</a:t>
            </a:r>
          </a:p>
          <a:p>
            <a:pPr lvl="1"/>
            <a:r>
              <a:rPr lang="en-US" dirty="0"/>
              <a:t>Sampling strata based on age, race/Hispanic ethnicity, education and gender</a:t>
            </a:r>
          </a:p>
          <a:p>
            <a:pPr lvl="2"/>
            <a:r>
              <a:rPr lang="en-US" dirty="0"/>
              <a:t>Additional sample of American Indian/Native Alaskan panelists in 2022</a:t>
            </a:r>
          </a:p>
          <a:p>
            <a:pPr lvl="1"/>
            <a:r>
              <a:rPr lang="en-US" dirty="0"/>
              <a:t>Limited to </a:t>
            </a:r>
            <a:r>
              <a:rPr lang="en-US" b="1" dirty="0"/>
              <a:t>adults age 18+; </a:t>
            </a:r>
            <a:r>
              <a:rPr lang="en-US" dirty="0"/>
              <a:t>one response per household</a:t>
            </a:r>
          </a:p>
          <a:p>
            <a:pPr lvl="1"/>
            <a:r>
              <a:rPr lang="en-US" dirty="0"/>
              <a:t>Sample Unit: 17603 </a:t>
            </a:r>
          </a:p>
          <a:p>
            <a:pPr lvl="2"/>
            <a:r>
              <a:rPr lang="en-US" dirty="0"/>
              <a:t>Weighted Cumulative Response rate: 4%</a:t>
            </a:r>
          </a:p>
          <a:p>
            <a:pPr lvl="2"/>
            <a:r>
              <a:rPr lang="en-US" dirty="0"/>
              <a:t>Margin of Error: ±1.75 percentage points</a:t>
            </a:r>
          </a:p>
          <a:p>
            <a:pPr lvl="1"/>
            <a:r>
              <a:rPr lang="en-US" dirty="0"/>
              <a:t>Final Sample size after exclusions:  2021 N=5,320  		2022 N=5,682</a:t>
            </a:r>
          </a:p>
        </p:txBody>
      </p:sp>
    </p:spTree>
    <p:extLst>
      <p:ext uri="{BB962C8B-B14F-4D97-AF65-F5344CB8AC3E}">
        <p14:creationId xmlns:p14="http://schemas.microsoft.com/office/powerpoint/2010/main" val="3703656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37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4358" y="208742"/>
            <a:ext cx="9983755" cy="966701"/>
          </a:xfrm>
        </p:spPr>
        <p:txBody>
          <a:bodyPr>
            <a:normAutofit/>
          </a:bodyPr>
          <a:lstStyle/>
          <a:p>
            <a:r>
              <a:rPr lang="en-US" dirty="0"/>
              <a:t>Do you plan on seeing an oral health provider in the next year for routine or preventive care?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/>
        </p:nvGraphicFramePr>
        <p:xfrm>
          <a:off x="1893116" y="1397000"/>
          <a:ext cx="8481269" cy="4768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834693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37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860" y="109716"/>
            <a:ext cx="5255076" cy="999242"/>
          </a:xfrm>
        </p:spPr>
        <p:txBody>
          <a:bodyPr>
            <a:normAutofit/>
          </a:bodyPr>
          <a:lstStyle/>
          <a:p>
            <a:pPr algn="ctr"/>
            <a:r>
              <a:rPr lang="en-US" sz="2800" dirty="0"/>
              <a:t> When was your last visit to a medical provider?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0338980"/>
              </p:ext>
            </p:extLst>
          </p:nvPr>
        </p:nvGraphicFramePr>
        <p:xfrm>
          <a:off x="382153" y="964807"/>
          <a:ext cx="5255076" cy="4928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9D53651-B2F5-49B4-A393-FAFA9A7831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2847891"/>
              </p:ext>
            </p:extLst>
          </p:nvPr>
        </p:nvGraphicFramePr>
        <p:xfrm>
          <a:off x="5811992" y="1044934"/>
          <a:ext cx="5556734" cy="4928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197186E9-06D8-42EB-9AAB-F256B1417A68}"/>
              </a:ext>
            </a:extLst>
          </p:cNvPr>
          <p:cNvSpPr txBox="1">
            <a:spLocks/>
          </p:cNvSpPr>
          <p:nvPr/>
        </p:nvSpPr>
        <p:spPr>
          <a:xfrm>
            <a:off x="5811992" y="191241"/>
            <a:ext cx="6160049" cy="83619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 When was your last visit to a dentist?</a:t>
            </a:r>
          </a:p>
        </p:txBody>
      </p:sp>
    </p:spTree>
    <p:extLst>
      <p:ext uri="{BB962C8B-B14F-4D97-AF65-F5344CB8AC3E}">
        <p14:creationId xmlns:p14="http://schemas.microsoft.com/office/powerpoint/2010/main" val="1648584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0AD4F-9F53-4D8F-A6A6-7D70130B5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1" y="832790"/>
            <a:ext cx="11264506" cy="3720356"/>
          </a:xfrm>
        </p:spPr>
        <p:txBody>
          <a:bodyPr/>
          <a:lstStyle/>
          <a:p>
            <a:r>
              <a:rPr lang="en-US" sz="4000" dirty="0"/>
              <a:t>Opportunity: </a:t>
            </a:r>
            <a:br>
              <a:rPr lang="en-US" sz="4000" dirty="0"/>
            </a:br>
            <a:r>
              <a:rPr lang="en-US" sz="4000" dirty="0"/>
              <a:t>Dental practices reach populations that don’t regularly access medical care.</a:t>
            </a:r>
          </a:p>
        </p:txBody>
      </p:sp>
    </p:spTree>
    <p:extLst>
      <p:ext uri="{BB962C8B-B14F-4D97-AF65-F5344CB8AC3E}">
        <p14:creationId xmlns:p14="http://schemas.microsoft.com/office/powerpoint/2010/main" val="38706157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37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Of those that reported they hadn’t seen a medical provider in the past year (N=1055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351F493-AB24-4BE1-B0BB-1C6473569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6796900"/>
              </p:ext>
            </p:extLst>
          </p:nvPr>
        </p:nvGraphicFramePr>
        <p:xfrm>
          <a:off x="707010" y="865825"/>
          <a:ext cx="10633435" cy="4928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ECDFC0D-4847-4601-B442-8B16960021A9}"/>
              </a:ext>
            </a:extLst>
          </p:cNvPr>
          <p:cNvSpPr/>
          <p:nvPr/>
        </p:nvSpPr>
        <p:spPr>
          <a:xfrm>
            <a:off x="2083324" y="2997724"/>
            <a:ext cx="3091991" cy="2630078"/>
          </a:xfrm>
          <a:prstGeom prst="rect">
            <a:avLst/>
          </a:prstGeom>
          <a:solidFill>
            <a:schemeClr val="accent1">
              <a:alpha val="1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119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C37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Of those that reported they were not able to get medical care, tests, or treatments you or a doctor believed were necessary in the past six months (N=998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351F493-AB24-4BE1-B0BB-1C64735691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7238446"/>
              </p:ext>
            </p:extLst>
          </p:nvPr>
        </p:nvGraphicFramePr>
        <p:xfrm>
          <a:off x="707010" y="865825"/>
          <a:ext cx="10633435" cy="4928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ECDFC0D-4847-4601-B442-8B16960021A9}"/>
              </a:ext>
            </a:extLst>
          </p:cNvPr>
          <p:cNvSpPr/>
          <p:nvPr/>
        </p:nvSpPr>
        <p:spPr>
          <a:xfrm>
            <a:off x="2083325" y="2752627"/>
            <a:ext cx="1527142" cy="2875175"/>
          </a:xfrm>
          <a:prstGeom prst="rect">
            <a:avLst/>
          </a:prstGeom>
          <a:solidFill>
            <a:schemeClr val="accent1">
              <a:alpha val="1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233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MMPROD_UIDATA" val="&lt;database version=&quot;11.0&quot;&gt;&lt;object type=&quot;1&quot; unique_id=&quot;10001&quot;&gt;&lt;object type=&quot;2&quot; unique_id=&quot;271983&quot;&gt;&lt;object type=&quot;3&quot; unique_id=&quot;271984&quot;&gt;&lt;property id=&quot;20148&quot; value=&quot;5&quot;/&gt;&lt;property id=&quot;20300&quot; value=&quot;Slide 1&quot;/&gt;&lt;property id=&quot;20307&quot; value=&quot;280&quot;/&gt;&lt;/object&gt;&lt;/object&gt;&lt;object type=&quot;8&quot; unique_id=&quot;271987&quot;&gt;&lt;/object&gt;&lt;/object&gt;&lt;/database&gt;"/>
  <p:tag name="ARTICULATE_SLIDE_COUNT" val="1"/>
  <p:tag name="MMPROD_NEXTUNIQUEID" val="10010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Z7MfvGxS9aoQIdSMa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Z7MfvGxS9aoQIdSMae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I0vJ6Ob6SEH_.MOmP9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7L6EdDidOvGOV5d.IRW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Q_Template_2020">
  <a:themeElements>
    <a:clrScheme name="CQ Theme v3">
      <a:dk1>
        <a:srgbClr val="000000"/>
      </a:dk1>
      <a:lt1>
        <a:srgbClr val="FFFFFF"/>
      </a:lt1>
      <a:dk2>
        <a:srgbClr val="2C378E"/>
      </a:dk2>
      <a:lt2>
        <a:srgbClr val="4F9CCF"/>
      </a:lt2>
      <a:accent1>
        <a:srgbClr val="F0B323"/>
      </a:accent1>
      <a:accent2>
        <a:srgbClr val="EA5328"/>
      </a:accent2>
      <a:accent3>
        <a:srgbClr val="4CD6CC"/>
      </a:accent3>
      <a:accent4>
        <a:srgbClr val="9A9AE2"/>
      </a:accent4>
      <a:accent5>
        <a:srgbClr val="3A913F"/>
      </a:accent5>
      <a:accent6>
        <a:srgbClr val="9CD832"/>
      </a:accent6>
      <a:hlink>
        <a:srgbClr val="2C378E"/>
      </a:hlink>
      <a:folHlink>
        <a:srgbClr val="4F9C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EBF5"/>
        </a:solidFill>
        <a:ln>
          <a:noFill/>
        </a:ln>
        <a:effectLst/>
      </a:spPr>
      <a:bodyPr rtlCol="0" anchor="ctr"/>
      <a:lstStyle>
        <a:defPPr algn="ctr">
          <a:defRPr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areQuest Institute widescreen_rev721" id="{230C2DAB-64DC-7245-A043-55EE680C5466}" vid="{1A531F04-CB8F-554E-A439-92ADF94F2BE4}"/>
    </a:ext>
  </a:extLst>
</a:theme>
</file>

<file path=ppt/theme/theme3.xml><?xml version="1.0" encoding="utf-8"?>
<a:theme xmlns:a="http://schemas.openxmlformats.org/drawingml/2006/main" name="1_CQ_Template_2020">
  <a:themeElements>
    <a:clrScheme name="CQ Theme v3">
      <a:dk1>
        <a:srgbClr val="000000"/>
      </a:dk1>
      <a:lt1>
        <a:srgbClr val="FFFFFF"/>
      </a:lt1>
      <a:dk2>
        <a:srgbClr val="2C378E"/>
      </a:dk2>
      <a:lt2>
        <a:srgbClr val="4F9CCF"/>
      </a:lt2>
      <a:accent1>
        <a:srgbClr val="F0B323"/>
      </a:accent1>
      <a:accent2>
        <a:srgbClr val="EA5328"/>
      </a:accent2>
      <a:accent3>
        <a:srgbClr val="4CD6CC"/>
      </a:accent3>
      <a:accent4>
        <a:srgbClr val="9A9AE2"/>
      </a:accent4>
      <a:accent5>
        <a:srgbClr val="3A913F"/>
      </a:accent5>
      <a:accent6>
        <a:srgbClr val="9CD832"/>
      </a:accent6>
      <a:hlink>
        <a:srgbClr val="2C378E"/>
      </a:hlink>
      <a:folHlink>
        <a:srgbClr val="4F9C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EBF5"/>
        </a:solidFill>
        <a:ln>
          <a:noFill/>
        </a:ln>
        <a:effectLst/>
      </a:spPr>
      <a:bodyPr rtlCol="0" anchor="ctr"/>
      <a:lstStyle>
        <a:defPPr algn="ctr">
          <a:defRPr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areQuest Institute widescreen_rev721" id="{230C2DAB-64DC-7245-A043-55EE680C5466}" vid="{1A531F04-CB8F-554E-A439-92ADF94F2BE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71A02DDD288A47B6349D79D2BC7DBE" ma:contentTypeVersion="14" ma:contentTypeDescription="Create a new document." ma:contentTypeScope="" ma:versionID="3ce741acce4625f51aeff93e612c0c56">
  <xsd:schema xmlns:xsd="http://www.w3.org/2001/XMLSchema" xmlns:xs="http://www.w3.org/2001/XMLSchema" xmlns:p="http://schemas.microsoft.com/office/2006/metadata/properties" xmlns:ns2="e7bedb6b-deba-4604-9872-5c8387a7599f" xmlns:ns3="db61073a-66ec-472b-b328-3a823e43552a" targetNamespace="http://schemas.microsoft.com/office/2006/metadata/properties" ma:root="true" ma:fieldsID="56f1628ea26ca2e8468593f358628180" ns2:_="" ns3:_="">
    <xsd:import namespace="e7bedb6b-deba-4604-9872-5c8387a7599f"/>
    <xsd:import namespace="db61073a-66ec-472b-b328-3a823e43552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edb6b-deba-4604-9872-5c8387a7599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e35e8e22-7d80-4dcd-8412-338f12afa546}" ma:internalName="TaxCatchAll" ma:showField="CatchAllData" ma:web="e7bedb6b-deba-4604-9872-5c8387a759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61073a-66ec-472b-b328-3a823e4355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05280c84-7510-474e-b165-8a8d3f841a4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7bedb6b-deba-4604-9872-5c8387a7599f" xsi:nil="true"/>
    <lcf76f155ced4ddcb4097134ff3c332f xmlns="db61073a-66ec-472b-b328-3a823e43552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7C8C6F8-6387-4C15-87AD-B734E05581A9}"/>
</file>

<file path=customXml/itemProps2.xml><?xml version="1.0" encoding="utf-8"?>
<ds:datastoreItem xmlns:ds="http://schemas.openxmlformats.org/officeDocument/2006/customXml" ds:itemID="{250AA42B-D544-4326-ADE2-32CC7674D268}"/>
</file>

<file path=customXml/itemProps3.xml><?xml version="1.0" encoding="utf-8"?>
<ds:datastoreItem xmlns:ds="http://schemas.openxmlformats.org/officeDocument/2006/customXml" ds:itemID="{5E18E37E-6E6B-4E31-A119-66D02D96BF05}"/>
</file>

<file path=docProps/app.xml><?xml version="1.0" encoding="utf-8"?>
<Properties xmlns="http://schemas.openxmlformats.org/officeDocument/2006/extended-properties" xmlns:vt="http://schemas.openxmlformats.org/officeDocument/2006/docPropsVTypes">
  <TotalTime>3306</TotalTime>
  <Words>844</Words>
  <Application>Microsoft Office PowerPoint</Application>
  <PresentationFormat>Widescreen</PresentationFormat>
  <Paragraphs>82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System Font Regular</vt:lpstr>
      <vt:lpstr>Office Theme</vt:lpstr>
      <vt:lpstr>CQ_Template_2020</vt:lpstr>
      <vt:lpstr>1_CQ_Template_2020</vt:lpstr>
      <vt:lpstr>think-cell Slide</vt:lpstr>
      <vt:lpstr>Consumers Experiences with and Attitudes toward Receiving Health Screenings at Dental Visits</vt:lpstr>
      <vt:lpstr>PowerPoint Presentation</vt:lpstr>
      <vt:lpstr>Learning Objectives</vt:lpstr>
      <vt:lpstr>State of Oral Health Equity in America (SOHEA) Survey</vt:lpstr>
      <vt:lpstr>Do you plan on seeing an oral health provider in the next year for routine or preventive care?</vt:lpstr>
      <vt:lpstr> When was your last visit to a medical provider?</vt:lpstr>
      <vt:lpstr>Opportunity:  Dental practices reach populations that don’t regularly access medical care.</vt:lpstr>
      <vt:lpstr>Of those that reported they hadn’t seen a medical provider in the past year (N=1055)</vt:lpstr>
      <vt:lpstr>Of those that reported they were not able to get medical care, tests, or treatments you or a doctor believed were necessary in the past six months (N=998)</vt:lpstr>
      <vt:lpstr>PowerPoint Presentation</vt:lpstr>
      <vt:lpstr>Health screenings in dental offices are an underutilized opportunity for preventive care</vt:lpstr>
      <vt:lpstr>PowerPoint Presentation</vt:lpstr>
      <vt:lpstr>Dental Offices are also an untapped resource for vaccine distribution</vt:lpstr>
      <vt:lpstr>Of those would reported rarely or never receiving flu vaccines: </vt:lpstr>
      <vt:lpstr>Of those would reported never receiving a COVID-19 Vaccine: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tt, Jessica C</dc:creator>
  <cp:lastModifiedBy>Adrianna Sonnek</cp:lastModifiedBy>
  <cp:revision>7</cp:revision>
  <dcterms:created xsi:type="dcterms:W3CDTF">2021-06-21T13:10:15Z</dcterms:created>
  <dcterms:modified xsi:type="dcterms:W3CDTF">2022-10-10T13:1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F039623D-C86C-4B77-A781-64030C1B19D8</vt:lpwstr>
  </property>
  <property fmtid="{D5CDD505-2E9C-101B-9397-08002B2CF9AE}" pid="3" name="ArticulatePath">
    <vt:lpwstr>Disclosure Slide_Teledentistry</vt:lpwstr>
  </property>
  <property fmtid="{D5CDD505-2E9C-101B-9397-08002B2CF9AE}" pid="4" name="ContentTypeId">
    <vt:lpwstr>0x0101004171A02DDD288A47B6349D79D2BC7DBE</vt:lpwstr>
  </property>
</Properties>
</file>